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9"/>
  </p:notesMasterIdLst>
  <p:sldIdLst>
    <p:sldId id="268" r:id="rId2"/>
    <p:sldId id="291" r:id="rId3"/>
    <p:sldId id="297" r:id="rId4"/>
    <p:sldId id="317" r:id="rId5"/>
    <p:sldId id="298" r:id="rId6"/>
    <p:sldId id="300" r:id="rId7"/>
    <p:sldId id="303" r:id="rId8"/>
    <p:sldId id="299" r:id="rId9"/>
    <p:sldId id="325" r:id="rId10"/>
    <p:sldId id="302" r:id="rId11"/>
    <p:sldId id="304" r:id="rId12"/>
    <p:sldId id="305" r:id="rId13"/>
    <p:sldId id="306" r:id="rId14"/>
    <p:sldId id="318" r:id="rId15"/>
    <p:sldId id="309" r:id="rId16"/>
    <p:sldId id="322" r:id="rId17"/>
    <p:sldId id="310" r:id="rId18"/>
    <p:sldId id="319" r:id="rId19"/>
    <p:sldId id="320" r:id="rId20"/>
    <p:sldId id="307" r:id="rId21"/>
    <p:sldId id="321" r:id="rId22"/>
    <p:sldId id="313" r:id="rId23"/>
    <p:sldId id="312" r:id="rId24"/>
    <p:sldId id="314" r:id="rId25"/>
    <p:sldId id="324" r:id="rId26"/>
    <p:sldId id="267" r:id="rId27"/>
    <p:sldId id="323" r:id="rId28"/>
  </p:sldIdLst>
  <p:sldSz cx="12192000" cy="6858000"/>
  <p:notesSz cx="6858000" cy="9144000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" id="{A4CA5440-4614-4F22-BA68-77BB4C6739D5}">
          <p14:sldIdLst>
            <p14:sldId id="268"/>
            <p14:sldId id="291"/>
            <p14:sldId id="297"/>
            <p14:sldId id="317"/>
            <p14:sldId id="298"/>
            <p14:sldId id="300"/>
            <p14:sldId id="303"/>
            <p14:sldId id="299"/>
            <p14:sldId id="325"/>
            <p14:sldId id="302"/>
            <p14:sldId id="304"/>
            <p14:sldId id="305"/>
            <p14:sldId id="306"/>
            <p14:sldId id="318"/>
            <p14:sldId id="309"/>
            <p14:sldId id="322"/>
            <p14:sldId id="310"/>
            <p14:sldId id="319"/>
            <p14:sldId id="320"/>
            <p14:sldId id="307"/>
            <p14:sldId id="321"/>
            <p14:sldId id="313"/>
            <p14:sldId id="312"/>
            <p14:sldId id="314"/>
            <p14:sldId id="324"/>
            <p14:sldId id="267"/>
            <p14:sldId id="32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C7CC4"/>
    <a:srgbClr val="FFD100"/>
    <a:srgbClr val="E41212"/>
    <a:srgbClr val="D01012"/>
    <a:srgbClr val="F0F0F0"/>
    <a:srgbClr val="FFFFFF"/>
    <a:srgbClr val="F5E467"/>
    <a:srgbClr val="980C0C"/>
    <a:srgbClr val="2089D0"/>
    <a:srgbClr val="B08E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5C2B1E3-3E17-44F0-8B7A-9E0928E1AB27}" v="516" dt="2024-09-26T08:53:10.58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12" autoAdjust="0"/>
    <p:restoredTop sz="94444" autoAdjust="0"/>
  </p:normalViewPr>
  <p:slideViewPr>
    <p:cSldViewPr snapToGrid="0" showGuides="1">
      <p:cViewPr varScale="1">
        <p:scale>
          <a:sx n="59" d="100"/>
          <a:sy n="59" d="100"/>
        </p:scale>
        <p:origin x="2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Relationship Id="rId35" Type="http://schemas.microsoft.com/office/2016/11/relationships/changesInfo" Target="changesInfos/changesInfo1.xml"/><Relationship Id="rId8" Type="http://schemas.openxmlformats.org/officeDocument/2006/relationships/slide" Target="slides/slide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eorgi Ivanov" userId="7e1b55540891ebeb" providerId="LiveId" clId="{FB9747C2-E790-457A-981D-44F4F47FC074}"/>
    <pc:docChg chg="undo redo custSel addSld delSld modSld sldOrd modSection">
      <pc:chgData name="Georgi Ivanov" userId="7e1b55540891ebeb" providerId="LiveId" clId="{FB9747C2-E790-457A-981D-44F4F47FC074}" dt="2024-09-22T18:14:45.988" v="352" actId="1076"/>
      <pc:docMkLst>
        <pc:docMk/>
      </pc:docMkLst>
      <pc:sldChg chg="del">
        <pc:chgData name="Georgi Ivanov" userId="7e1b55540891ebeb" providerId="LiveId" clId="{FB9747C2-E790-457A-981D-44F4F47FC074}" dt="2024-09-22T17:46:54.525" v="2" actId="47"/>
        <pc:sldMkLst>
          <pc:docMk/>
          <pc:sldMk cId="2972571144" sldId="256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767157536" sldId="258"/>
        </pc:sldMkLst>
      </pc:sldChg>
      <pc:sldChg chg="modSp mod">
        <pc:chgData name="Georgi Ivanov" userId="7e1b55540891ebeb" providerId="LiveId" clId="{FB9747C2-E790-457A-981D-44F4F47FC074}" dt="2024-09-22T17:50:50.720" v="14" actId="20577"/>
        <pc:sldMkLst>
          <pc:docMk/>
          <pc:sldMk cId="2762696595" sldId="262"/>
        </pc:sldMkLst>
        <pc:spChg chg="mod">
          <ac:chgData name="Georgi Ivanov" userId="7e1b55540891ebeb" providerId="LiveId" clId="{FB9747C2-E790-457A-981D-44F4F47FC074}" dt="2024-09-22T17:50:50.720" v="14" actId="20577"/>
          <ac:spMkLst>
            <pc:docMk/>
            <pc:sldMk cId="2762696595" sldId="262"/>
            <ac:spMk id="2" creationId="{2A983584-8125-433F-B7FD-A6330AFCE3EC}"/>
          </ac:spMkLst>
        </pc:spChg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69339252" sldId="265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075837952" sldId="266"/>
        </pc:sldMkLst>
      </pc:sldChg>
      <pc:sldChg chg="ord">
        <pc:chgData name="Georgi Ivanov" userId="7e1b55540891ebeb" providerId="LiveId" clId="{FB9747C2-E790-457A-981D-44F4F47FC074}" dt="2024-09-22T17:47:08.800" v="6"/>
        <pc:sldMkLst>
          <pc:docMk/>
          <pc:sldMk cId="405277657" sldId="267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1297189949" sldId="269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2888177540" sldId="270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496456422" sldId="271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2279238405" sldId="272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64263881" sldId="273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1793408295" sldId="274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2200953458" sldId="275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1694337955" sldId="276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940358387" sldId="278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914192429" sldId="283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726790018" sldId="284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526873030" sldId="286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039416329" sldId="289"/>
        </pc:sldMkLst>
      </pc:sldChg>
      <pc:sldChg chg="ord">
        <pc:chgData name="Georgi Ivanov" userId="7e1b55540891ebeb" providerId="LiveId" clId="{FB9747C2-E790-457A-981D-44F4F47FC074}" dt="2024-09-22T17:47:00.564" v="4"/>
        <pc:sldMkLst>
          <pc:docMk/>
          <pc:sldMk cId="2511800391" sldId="291"/>
        </pc:sldMkLst>
      </pc:sldChg>
      <pc:sldChg chg="modSp mod">
        <pc:chgData name="Georgi Ivanov" userId="7e1b55540891ebeb" providerId="LiveId" clId="{FB9747C2-E790-457A-981D-44F4F47FC074}" dt="2024-09-22T18:06:50.352" v="293" actId="167"/>
        <pc:sldMkLst>
          <pc:docMk/>
          <pc:sldMk cId="1695139514" sldId="294"/>
        </pc:sldMkLst>
        <pc:picChg chg="mod ord">
          <ac:chgData name="Georgi Ivanov" userId="7e1b55540891ebeb" providerId="LiveId" clId="{FB9747C2-E790-457A-981D-44F4F47FC074}" dt="2024-09-22T18:06:50.352" v="293" actId="167"/>
          <ac:picMkLst>
            <pc:docMk/>
            <pc:sldMk cId="1695139514" sldId="294"/>
            <ac:picMk id="2" creationId="{B6A6D7E3-94FE-75D8-6E85-663E85C1C7FA}"/>
          </ac:picMkLst>
        </pc:picChg>
      </pc:sldChg>
      <pc:sldChg chg="addSp delSp modSp add mod">
        <pc:chgData name="Georgi Ivanov" userId="7e1b55540891ebeb" providerId="LiveId" clId="{FB9747C2-E790-457A-981D-44F4F47FC074}" dt="2024-09-22T18:14:45.988" v="352" actId="1076"/>
        <pc:sldMkLst>
          <pc:docMk/>
          <pc:sldMk cId="1032704305" sldId="297"/>
        </pc:sldMkLst>
        <pc:spChg chg="del">
          <ac:chgData name="Georgi Ivanov" userId="7e1b55540891ebeb" providerId="LiveId" clId="{FB9747C2-E790-457A-981D-44F4F47FC074}" dt="2024-09-22T17:52:30.139" v="31" actId="1032"/>
          <ac:spMkLst>
            <pc:docMk/>
            <pc:sldMk cId="1032704305" sldId="297"/>
            <ac:spMk id="3" creationId="{DECCB398-1B0C-6E46-E515-15AA78A5E5D7}"/>
          </ac:spMkLst>
        </pc:spChg>
        <pc:spChg chg="mod">
          <ac:chgData name="Georgi Ivanov" userId="7e1b55540891ebeb" providerId="LiveId" clId="{FB9747C2-E790-457A-981D-44F4F47FC074}" dt="2024-09-22T18:11:04.215" v="320"/>
          <ac:spMkLst>
            <pc:docMk/>
            <pc:sldMk cId="1032704305" sldId="297"/>
            <ac:spMk id="6" creationId="{FA25092D-D0DF-934E-313B-E754E86D4D36}"/>
          </ac:spMkLst>
        </pc:spChg>
        <pc:spChg chg="mod">
          <ac:chgData name="Georgi Ivanov" userId="7e1b55540891ebeb" providerId="LiveId" clId="{FB9747C2-E790-457A-981D-44F4F47FC074}" dt="2024-09-22T18:11:04.215" v="320"/>
          <ac:spMkLst>
            <pc:docMk/>
            <pc:sldMk cId="1032704305" sldId="297"/>
            <ac:spMk id="7" creationId="{97B3DF85-3EE0-1BB6-5DCE-94D2AA7F01E8}"/>
          </ac:spMkLst>
        </pc:spChg>
        <pc:spChg chg="mod">
          <ac:chgData name="Georgi Ivanov" userId="7e1b55540891ebeb" providerId="LiveId" clId="{FB9747C2-E790-457A-981D-44F4F47FC074}" dt="2024-09-22T18:11:30.011" v="324"/>
          <ac:spMkLst>
            <pc:docMk/>
            <pc:sldMk cId="1032704305" sldId="297"/>
            <ac:spMk id="10" creationId="{FA25092D-D0DF-934E-313B-E754E86D4D36}"/>
          </ac:spMkLst>
        </pc:spChg>
        <pc:spChg chg="mod">
          <ac:chgData name="Georgi Ivanov" userId="7e1b55540891ebeb" providerId="LiveId" clId="{FB9747C2-E790-457A-981D-44F4F47FC074}" dt="2024-09-22T18:11:30.011" v="324"/>
          <ac:spMkLst>
            <pc:docMk/>
            <pc:sldMk cId="1032704305" sldId="297"/>
            <ac:spMk id="11" creationId="{97B3DF85-3EE0-1BB6-5DCE-94D2AA7F01E8}"/>
          </ac:spMkLst>
        </pc:spChg>
        <pc:spChg chg="add mod">
          <ac:chgData name="Georgi Ivanov" userId="7e1b55540891ebeb" providerId="LiveId" clId="{FB9747C2-E790-457A-981D-44F4F47FC074}" dt="2024-09-22T18:14:13.136" v="346"/>
          <ac:spMkLst>
            <pc:docMk/>
            <pc:sldMk cId="1032704305" sldId="297"/>
            <ac:spMk id="13" creationId="{478944CB-2793-597E-F81D-CCEB0EE141BA}"/>
          </ac:spMkLst>
        </pc:spChg>
        <pc:spChg chg="add 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14" creationId="{26E775A1-4B8E-07F7-4E98-5DCED5B03C52}"/>
          </ac:spMkLst>
        </pc:spChg>
        <pc:spChg chg="mod">
          <ac:chgData name="Georgi Ivanov" userId="7e1b55540891ebeb" providerId="LiveId" clId="{FB9747C2-E790-457A-981D-44F4F47FC074}" dt="2024-09-22T18:14:43.193" v="351" actId="14100"/>
          <ac:spMkLst>
            <pc:docMk/>
            <pc:sldMk cId="1032704305" sldId="297"/>
            <ac:spMk id="17" creationId="{10A6EFB4-EB70-F5E7-71F2-602F7ADFAED0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0" creationId="{C87E9EF9-D2AC-BBA2-8F3F-627DAFEA4325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1" creationId="{7E563941-AEF1-263A-29F9-4BD83D62DF14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2" creationId="{97B7D2A6-F712-93C4-A396-6C6897C36A03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3" creationId="{9AAB2837-0538-4CA8-7281-362CD01B3E0E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4" creationId="{E554DD74-B78B-FB28-F57B-11C7275B070D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5" creationId="{5472C4A9-3314-DEF2-7678-C15121211BF3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6" creationId="{A8B23927-3E0C-BA90-3B85-9DC543F031BB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7" creationId="{E8C34FE9-9932-4526-AB09-8642334A0E35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8" creationId="{72049148-93AD-E35E-29F8-793A216AF92F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9" creationId="{A2DACD6A-9953-7E8C-B27A-C43A9A68F322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0" creationId="{9AB09F63-EEA3-6C18-FE5C-B01E5B8E67E1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1" creationId="{1C717480-1896-E268-B2FE-918018F16CEE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2" creationId="{3AF85582-ADA3-5AE1-12E3-D2DE3999319C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3" creationId="{7AA6BC08-875F-68CA-FBAA-4628E02CF5BD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4" creationId="{F6C51207-39C7-1B17-2E5B-B4A5BF5BEA17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5" creationId="{DA631E0E-3EB6-3022-A547-27A8E9E08148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6" creationId="{05369B66-5C24-D858-CD2B-1C1146DE3703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7" creationId="{3994FAE4-6FCC-35BD-05A7-2DDC50DA0634}"/>
          </ac:spMkLst>
        </pc:spChg>
        <pc:grpChg chg="add del mod">
          <ac:chgData name="Georgi Ivanov" userId="7e1b55540891ebeb" providerId="LiveId" clId="{FB9747C2-E790-457A-981D-44F4F47FC074}" dt="2024-09-22T18:11:09.187" v="322" actId="21"/>
          <ac:grpSpMkLst>
            <pc:docMk/>
            <pc:sldMk cId="1032704305" sldId="297"/>
            <ac:grpSpMk id="5" creationId="{9C2F4D9B-ADF3-DF3A-E112-A9E30F8567FC}"/>
          </ac:grpSpMkLst>
        </pc:grpChg>
        <pc:grpChg chg="add del mod">
          <ac:chgData name="Georgi Ivanov" userId="7e1b55540891ebeb" providerId="LiveId" clId="{FB9747C2-E790-457A-981D-44F4F47FC074}" dt="2024-09-22T18:11:52.954" v="331" actId="21"/>
          <ac:grpSpMkLst>
            <pc:docMk/>
            <pc:sldMk cId="1032704305" sldId="297"/>
            <ac:grpSpMk id="9" creationId="{9C2F4D9B-ADF3-DF3A-E112-A9E30F8567FC}"/>
          </ac:grpSpMkLst>
        </pc:grpChg>
        <pc:grpChg chg="add mod">
          <ac:chgData name="Georgi Ivanov" userId="7e1b55540891ebeb" providerId="LiveId" clId="{FB9747C2-E790-457A-981D-44F4F47FC074}" dt="2024-09-22T18:14:45.988" v="352" actId="1076"/>
          <ac:grpSpMkLst>
            <pc:docMk/>
            <pc:sldMk cId="1032704305" sldId="297"/>
            <ac:grpSpMk id="15" creationId="{450915E9-3C95-311B-BFC4-43F8C1D6A9AA}"/>
          </ac:grpSpMkLst>
        </pc:grpChg>
        <pc:grpChg chg="add mod">
          <ac:chgData name="Georgi Ivanov" userId="7e1b55540891ebeb" providerId="LiveId" clId="{FB9747C2-E790-457A-981D-44F4F47FC074}" dt="2024-09-22T18:14:45.988" v="352" actId="1076"/>
          <ac:grpSpMkLst>
            <pc:docMk/>
            <pc:sldMk cId="1032704305" sldId="297"/>
            <ac:grpSpMk id="38" creationId="{8C2D5996-3B9C-5C0A-3E22-785B111BDDDE}"/>
          </ac:grpSpMkLst>
        </pc:grpChg>
        <pc:graphicFrameChg chg="add mod modGraphic">
          <ac:chgData name="Georgi Ivanov" userId="7e1b55540891ebeb" providerId="LiveId" clId="{FB9747C2-E790-457A-981D-44F4F47FC074}" dt="2024-09-22T18:13:10.755" v="344"/>
          <ac:graphicFrameMkLst>
            <pc:docMk/>
            <pc:sldMk cId="1032704305" sldId="297"/>
            <ac:graphicFrameMk id="2" creationId="{16286F52-393A-56B8-9D59-8DF52C2CAA10}"/>
          </ac:graphicFrameMkLst>
        </pc:graphicFrameChg>
        <pc:picChg chg="add del mod">
          <ac:chgData name="Georgi Ivanov" userId="7e1b55540891ebeb" providerId="LiveId" clId="{FB9747C2-E790-457A-981D-44F4F47FC074}" dt="2024-09-22T18:11:09.187" v="322" actId="21"/>
          <ac:picMkLst>
            <pc:docMk/>
            <pc:sldMk cId="1032704305" sldId="297"/>
            <ac:picMk id="8" creationId="{46CDE0A9-8289-2401-EED3-4A7A169BD774}"/>
          </ac:picMkLst>
        </pc:picChg>
        <pc:picChg chg="add mod">
          <ac:chgData name="Georgi Ivanov" userId="7e1b55540891ebeb" providerId="LiveId" clId="{FB9747C2-E790-457A-981D-44F4F47FC074}" dt="2024-09-22T18:13:33.956" v="345" actId="1076"/>
          <ac:picMkLst>
            <pc:docMk/>
            <pc:sldMk cId="1032704305" sldId="297"/>
            <ac:picMk id="12" creationId="{46CDE0A9-8289-2401-EED3-4A7A169BD774}"/>
          </ac:picMkLst>
        </pc:picChg>
      </pc:sldChg>
      <pc:sldChg chg="modSp add del mod">
        <pc:chgData name="Georgi Ivanov" userId="7e1b55540891ebeb" providerId="LiveId" clId="{FB9747C2-E790-457A-981D-44F4F47FC074}" dt="2024-09-22T17:51:07.598" v="23" actId="47"/>
        <pc:sldMkLst>
          <pc:docMk/>
          <pc:sldMk cId="1081392437" sldId="297"/>
        </pc:sldMkLst>
        <pc:spChg chg="mod">
          <ac:chgData name="Georgi Ivanov" userId="7e1b55540891ebeb" providerId="LiveId" clId="{FB9747C2-E790-457A-981D-44F4F47FC074}" dt="2024-09-22T17:51:05.652" v="22" actId="20577"/>
          <ac:spMkLst>
            <pc:docMk/>
            <pc:sldMk cId="1081392437" sldId="297"/>
            <ac:spMk id="2" creationId="{2A983584-8125-433F-B7FD-A6330AFCE3EC}"/>
          </ac:spMkLst>
        </pc:spChg>
      </pc:sldChg>
      <pc:sldChg chg="delSp add mod">
        <pc:chgData name="Georgi Ivanov" userId="7e1b55540891ebeb" providerId="LiveId" clId="{FB9747C2-E790-457A-981D-44F4F47FC074}" dt="2024-09-22T18:06:57.782" v="295" actId="478"/>
        <pc:sldMkLst>
          <pc:docMk/>
          <pc:sldMk cId="1139476994" sldId="298"/>
        </pc:sldMkLst>
        <pc:picChg chg="del">
          <ac:chgData name="Georgi Ivanov" userId="7e1b55540891ebeb" providerId="LiveId" clId="{FB9747C2-E790-457A-981D-44F4F47FC074}" dt="2024-09-22T18:06:57.782" v="295" actId="478"/>
          <ac:picMkLst>
            <pc:docMk/>
            <pc:sldMk cId="1139476994" sldId="298"/>
            <ac:picMk id="2" creationId="{B6A6D7E3-94FE-75D8-6E85-663E85C1C7FA}"/>
          </ac:picMkLst>
        </pc:picChg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177802230" sldId="300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393883262" sldId="301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375824723" sldId="302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455894287" sldId="303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045036923" sldId="304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787138908" sldId="305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150186008" sldId="306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464503787" sldId="307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517399652" sldId="308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843314910" sldId="309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824750760" sldId="310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10778241" sldId="311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830417110" sldId="312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304406426" sldId="313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957644220" sldId="314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412054983" sldId="315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022607342" sldId="316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871289655" sldId="317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774343773" sldId="318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036617515" sldId="319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915610029" sldId="320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234220110" sldId="321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388848189" sldId="322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684043044" sldId="323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092860904" sldId="324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590452929" sldId="325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34452738" sldId="326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886274948" sldId="327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636128076" sldId="328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467638620" sldId="329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667743894" sldId="330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155726156" sldId="331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010541507" sldId="332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946740345" sldId="333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249620584" sldId="334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3606481872" sldId="335"/>
        </pc:sldMkLst>
      </pc:sldChg>
    </pc:docChg>
  </pc:docChgLst>
  <pc:docChgLst>
    <pc:chgData name="Georgi Ivanov" userId="7e1b55540891ebeb" providerId="LiveId" clId="{D5C2B1E3-3E17-44F0-8B7A-9E0928E1AB27}"/>
    <pc:docChg chg="undo redo custSel addSld delSld modSld sldOrd modSection">
      <pc:chgData name="Georgi Ivanov" userId="7e1b55540891ebeb" providerId="LiveId" clId="{D5C2B1E3-3E17-44F0-8B7A-9E0928E1AB27}" dt="2024-09-26T08:59:20.980" v="3424" actId="6549"/>
      <pc:docMkLst>
        <pc:docMk/>
      </pc:docMkLst>
      <pc:sldChg chg="addSp delSp modSp mod">
        <pc:chgData name="Georgi Ivanov" userId="7e1b55540891ebeb" providerId="LiveId" clId="{D5C2B1E3-3E17-44F0-8B7A-9E0928E1AB27}" dt="2024-09-26T08:19:18.550" v="2820" actId="20577"/>
        <pc:sldMkLst>
          <pc:docMk/>
          <pc:sldMk cId="1032704305" sldId="297"/>
        </pc:sldMkLst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5" creationId="{24B492A0-FD3F-36B9-39FB-67932D92E4BB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6" creationId="{F5E25F00-7B88-4DED-3AD7-F7C8FEF6E175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7" creationId="{0889F8CF-C4A4-F347-CAD2-E045D4E08DE9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8" creationId="{D9AC259B-73CF-AC99-8D38-6C29A6410F85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9" creationId="{97207C70-82F6-E7BE-81E9-D5F1544DF4D9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10" creationId="{6035C80B-BE96-168B-CD4F-DDF9B33498B2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11" creationId="{42291865-0F0A-1DB5-DF94-357D3D7BA399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13" creationId="{424F7536-4E75-00F5-DCF3-5C88A07E4A67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39" creationId="{B7BE7A15-B099-E9DD-6C36-D39D63554798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40" creationId="{8EFFD26A-90D6-29C4-492C-2BBE2E4B6FA2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41" creationId="{4B761115-8A5E-CE73-1794-43E3C3D62A6A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42" creationId="{EA02C5EE-F28C-444B-3297-08893F053F4F}"/>
          </ac:spMkLst>
        </pc:spChg>
        <pc:spChg chg="add del mod">
          <ac:chgData name="Georgi Ivanov" userId="7e1b55540891ebeb" providerId="LiveId" clId="{D5C2B1E3-3E17-44F0-8B7A-9E0928E1AB27}" dt="2024-09-26T07:35:24.344" v="1972" actId="478"/>
          <ac:spMkLst>
            <pc:docMk/>
            <pc:sldMk cId="1032704305" sldId="297"/>
            <ac:spMk id="43" creationId="{76E0A628-9FE2-3267-58F9-7CAD79A33E1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49" creationId="{2C1B3D7B-655C-505B-3771-ED294195F01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0" creationId="{F04A52E3-A26A-118B-1DBD-B025CF962455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1" creationId="{9E0D1AFF-091E-9ABF-C7DD-1FB6D01CB6E3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2" creationId="{6FE07C4D-4D77-1E85-08EF-AE874B918CC1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3" creationId="{D9495E1A-C122-5208-8D86-47B49CD3B9F0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4" creationId="{9605AEAF-B92B-3A1E-59D2-76D1DE634A8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5" creationId="{3D40BEAA-E280-4FD1-A9B7-B1661EFD9A7A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6" creationId="{E3002C47-369A-2AB7-FD92-7796E9EF68E1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7" creationId="{3C96B218-236B-F0B7-5537-2EAA3E50E994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8" creationId="{11FA44DF-68C3-09CE-795D-B2C199072D3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9" creationId="{775590A0-60A0-618F-F223-B3E9FADF021D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60" creationId="{1C716079-E631-5A18-E442-2E2E46652EA7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61" creationId="{42B14076-34DC-30DD-14BA-7F2BEAAC6007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62" creationId="{8F529D3A-31B5-AB98-C792-A60676C7F75A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63" creationId="{E492A5FF-BCAC-3079-908F-98975E272531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2" creationId="{D87342C4-037A-2923-035C-3070793724F4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3" creationId="{055DFD79-41B6-35D8-7DCF-69F07815C4C4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5" creationId="{A072A0F2-15BA-1D76-1F10-856C6193F65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6" creationId="{9C02ABDF-D333-078C-1F41-924F324B4265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7" creationId="{0A7E4875-BFEC-95B3-447D-240124CDDE89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8" creationId="{D9192205-23A9-6951-2B85-C2D03FF0789D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9" creationId="{1507A870-749C-DE2C-78B0-BA65FE5C2409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0" creationId="{8F5FB2C2-68D2-D646-C8D0-9BF734FC1BE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1" creationId="{B6E83213-DB16-C652-BCC7-F9E732F24626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2" creationId="{C9801307-6036-E600-B765-A79961F60BA6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3" creationId="{6FD047F2-9050-18F0-DFA4-4ECCB68B02F1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4" creationId="{4A0F0789-0468-2FD8-18CD-EA2C1625896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5" creationId="{BCFD928A-D42A-6BF0-E4F7-077A875156FA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6" creationId="{729AF252-A3E8-D9ED-25D9-E08951C9DDFD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7" creationId="{86E79531-D9D8-4BCC-5CDD-4576ABD91C77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0" creationId="{51273389-246B-3F5C-25DC-61AB9EE5222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1" creationId="{E5DCA617-CA05-B5E0-E349-5E88964898D7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2" creationId="{1DFD0E52-DA59-3F35-6D89-5BD184CE391B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3" creationId="{5BD69C82-C238-767C-7B14-9D619CC0D703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4" creationId="{4EA4B070-0DDD-13AC-0779-50F204795248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5" creationId="{72CD3FD2-53CA-AE41-F3CE-29CCE6F4B3EE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6" creationId="{A20D6D87-0CA6-7795-2EAF-84EAF8498227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7" creationId="{BE3459AC-11C8-CCF1-D407-13D721F17D5B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8" creationId="{BA5D6B3B-56EE-87F5-27A8-5AC5305A0CD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9" creationId="{869B85B7-A156-DAA2-5383-8BA8BA534F22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0" creationId="{DF0C8752-3A85-509A-85A9-1154FA48B5E0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1" creationId="{3C37A72B-C3E4-DFD3-3C3E-AA88D340D0E1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2" creationId="{05776527-7BEE-54C3-457F-1D6B18AF4840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3" creationId="{CB6E4526-9976-242D-3FAB-EB4D8ABB3EB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4" creationId="{CFB00F70-DD62-D18B-4DD6-0C25EB71A60D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5" creationId="{CFA93255-ABB8-B932-8726-428DCB41C354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6" creationId="{3C266DF4-E367-275E-3F5F-FACFC66E90A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7" creationId="{57F307B4-355A-870E-D099-D57D4F7C563A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8" creationId="{97498E17-E377-6C56-8FE8-03BF7870A151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9" creationId="{2FA34EB4-F057-71E3-E1B2-AFD912FDBCC6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0" creationId="{8EF9AB3F-BA78-3432-15DD-FFE30E0130A8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1" creationId="{E4A8921D-EF58-7F52-5711-DC7183C71A1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2" creationId="{02FE5C66-2807-AFB9-B27B-23729B6EE489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3" creationId="{C0A8FEAA-1726-3746-9BA7-766EAD0C75B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4" creationId="{C5331B6A-0773-631B-5017-4933DD0BA26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5" creationId="{EE86B0F8-C0F0-0A72-8562-6DC6CE57AC14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6" creationId="{E1316FE5-2968-5B5D-53B9-B96F926DF48D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7" creationId="{9F28CA38-E999-5626-C78D-04585F44A7DD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8" creationId="{FA2FA893-FF7C-7AD0-80E2-A2F92E7CA9E6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9" creationId="{277B852D-45F5-068E-00A7-5986E1A579A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25" creationId="{551BF171-59C0-C1F6-6BF4-B8F27446263C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26" creationId="{C8479226-552F-F061-ABDE-C9E866686F18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27" creationId="{821832C9-B754-FB7C-A3E5-34C66C1814A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28" creationId="{81EF5056-4121-55AC-36B1-9D91E105AE72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29" creationId="{069409FA-754F-527B-842F-087A6CA664FE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0" creationId="{7A42ECA8-C23C-4482-92A3-248B4331F3E3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1" creationId="{21717CEA-FAF8-C763-C374-163BF2AE2B4F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2" creationId="{71FA8084-9455-C8DA-7FA3-B90B8ADACE3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3" creationId="{6633F4E6-9EB9-48CA-FD0C-1901B8F6F898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4" creationId="{06297EC2-2853-F232-228F-0F30EACCCA18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5" creationId="{14C55BD8-663C-A37C-9408-8E0AA36708C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6" creationId="{9AFE6CEE-D9FC-A4A6-B3E1-CE4551C8DFC0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7" creationId="{451A224B-5D8D-C0E7-D454-D7F800368FAF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8" creationId="{A17B595B-AC01-A47E-5ACE-6C7BE119CB3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9" creationId="{B74AF1B6-435C-0FE8-254B-37440D95351F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0" creationId="{B5A63D59-2BD5-4198-9B0E-A8C76E34E81A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1" creationId="{DDDEA0B9-8F20-D825-3457-20CDC2278742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2" creationId="{7C2F4AAE-0BE0-D25B-F014-FA1F75B3A403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3" creationId="{93D24373-CF19-F91C-0EFF-9BDDAEB3B60E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4" creationId="{B0AE914A-F03F-6CA4-E48C-23F6BC9EB5BB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5" creationId="{C9F95B4D-1591-E291-0369-8176A5DA9AAD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6" creationId="{43CD338B-C136-CF84-2D08-45ADD8083F7F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7" creationId="{259293A3-DD92-2533-1812-84D4239ECE42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8" creationId="{5D3E985D-B381-B6AA-FD04-C3B8D47DEB2E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9" creationId="{FD60DE0F-D7CC-37DB-B83E-E312B3C95C0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0" creationId="{23767E40-0BCD-A118-B6F1-3584C1D59E9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1" creationId="{7F2ED990-8612-E0C8-53A7-CDB3D3204D06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2" creationId="{24828674-5384-EC8D-2B24-DBB29C7DFAAB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3" creationId="{E1D4AD92-2554-68C7-7505-D2361F7F460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4" creationId="{167B88E4-62ED-B48F-BE7C-141B6F986A41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7" creationId="{6FAB6C8D-9D38-E3FD-187F-A83332E84BE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8" creationId="{B3EEE24B-34C9-94CA-03BD-1CB71200D6C6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9" creationId="{BE695471-1D6A-F755-2575-7766E051F6D0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0" creationId="{049A131A-6936-21D2-389A-B8F7F11739CF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1" creationId="{17FF785A-7B81-64A3-C5B7-7B98EB44BE4A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2" creationId="{219ABB09-6ECB-F37C-2A97-FB346F859EC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3" creationId="{B6EA70EC-7BAC-101A-3B50-ECCC6FB667F1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4" creationId="{00D236E3-6F57-33D6-40E8-8A3504DA2C38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5" creationId="{1A5949F4-CEBC-4652-6C39-0CAD2554F145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6" creationId="{A0DA777F-EC1F-DC46-1742-A0BF60A20A18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7" creationId="{6ADF7658-1BE9-7B0A-DCF1-7CF0DD3EF1CB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8" creationId="{BE30EA58-7594-35DD-F253-864205957A30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9" creationId="{0C6B33A2-2C8C-7D63-A432-53D4745AEBAC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0" creationId="{9CB4D371-A6D5-1F91-3DB6-7A0D693EFB4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1" creationId="{93CA8641-355C-A3B1-0A9E-4CC952850454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2" creationId="{74BFB69B-7DFA-C43D-C5FA-8C4A32D657E1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3" creationId="{4CD47D3E-5EA6-20A2-749E-47CC04772D72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4" creationId="{BE8E75BD-A368-6EB4-8B39-54D32719F57C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5" creationId="{C83F3DAC-3A3F-EB9D-844F-5538490A721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6" creationId="{8E79F599-2098-96F8-C821-3B73900967A5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7" creationId="{7EEF703C-E26F-DF53-50B8-3DAD3C7ECAE4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8" creationId="{967551DD-8141-8047-97F8-81F53AADFE3D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9" creationId="{864F5D4D-1C54-2371-C49C-20B1A1837513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0" creationId="{DA6B407F-CD38-4ED6-0F84-30A2929A9DA1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1" creationId="{6CAEE2C4-E2EE-71D0-1E34-28C405E46ED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2" creationId="{FC5A0B3E-3067-6B75-F7D0-335FD4B6FDE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3" creationId="{B1CCE4CD-4258-4389-851C-3AB818ADE7A6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4" creationId="{2A530A3D-1A8D-A493-1CB7-E9400151122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5" creationId="{69D27F10-49E0-76D4-EDA4-5AC747C66175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6" creationId="{3D0B41B2-E61D-E7FE-FB3F-8351269A0304}"/>
          </ac:spMkLst>
        </pc:spChg>
        <pc:grpChg chg="add del mod">
          <ac:chgData name="Georgi Ivanov" userId="7e1b55540891ebeb" providerId="LiveId" clId="{D5C2B1E3-3E17-44F0-8B7A-9E0928E1AB27}" dt="2024-09-25T13:24:12.173" v="1516" actId="478"/>
          <ac:grpSpMkLst>
            <pc:docMk/>
            <pc:sldMk cId="1032704305" sldId="297"/>
            <ac:grpSpMk id="3" creationId="{B3D76D2B-918D-C48D-6D96-F32BA16C7C12}"/>
          </ac:grpSpMkLst>
        </pc:grpChg>
        <pc:grpChg chg="add 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44" creationId="{9B01171B-0EEB-4D5C-7476-CA8114202676}"/>
          </ac:grpSpMkLst>
        </pc:grpChg>
        <pc:grpChg chg="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45" creationId="{E5482315-8100-CE15-DA46-23E85F8E7203}"/>
          </ac:grpSpMkLst>
        </pc:grpChg>
        <pc:grpChg chg="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46" creationId="{69FC1C75-B77A-88C5-E28B-FEFDB863915D}"/>
          </ac:grpSpMkLst>
        </pc:grpChg>
        <pc:grpChg chg="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47" creationId="{B906C5D9-D832-1C12-BC5C-A9CA5BE302F9}"/>
          </ac:grpSpMkLst>
        </pc:grpChg>
        <pc:grpChg chg="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48" creationId="{C3CFF5B1-21BD-3E95-9DFD-F6F471DF6E28}"/>
          </ac:grpSpMkLst>
        </pc:grpChg>
        <pc:grpChg chg="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3088" creationId="{EB2A2DD4-4D47-6D23-5F5D-D3799F39356B}"/>
          </ac:grpSpMkLst>
        </pc:grpChg>
        <pc:grpChg chg="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3089" creationId="{AF2FBCBE-EA16-7E0D-4F05-7EF807C637BD}"/>
          </ac:grpSpMkLst>
        </pc:grpChg>
        <pc:grpChg chg="add mod">
          <ac:chgData name="Georgi Ivanov" userId="7e1b55540891ebeb" providerId="LiveId" clId="{D5C2B1E3-3E17-44F0-8B7A-9E0928E1AB27}" dt="2024-09-25T13:33:00.164" v="1651" actId="14100"/>
          <ac:grpSpMkLst>
            <pc:docMk/>
            <pc:sldMk cId="1032704305" sldId="297"/>
            <ac:grpSpMk id="3120" creationId="{E5B9C441-B93D-CA61-5CBA-D95F7A4B4517}"/>
          </ac:grpSpMkLst>
        </pc:grpChg>
        <pc:grpChg chg="mod">
          <ac:chgData name="Georgi Ivanov" userId="7e1b55540891ebeb" providerId="LiveId" clId="{D5C2B1E3-3E17-44F0-8B7A-9E0928E1AB27}" dt="2024-09-25T13:32:23.976" v="1637"/>
          <ac:grpSpMkLst>
            <pc:docMk/>
            <pc:sldMk cId="1032704305" sldId="297"/>
            <ac:grpSpMk id="3121" creationId="{B34F0793-F582-7F88-5C83-6D8B990F7EC1}"/>
          </ac:grpSpMkLst>
        </pc:grpChg>
        <pc:grpChg chg="mod">
          <ac:chgData name="Georgi Ivanov" userId="7e1b55540891ebeb" providerId="LiveId" clId="{D5C2B1E3-3E17-44F0-8B7A-9E0928E1AB27}" dt="2024-09-25T13:32:23.976" v="1637"/>
          <ac:grpSpMkLst>
            <pc:docMk/>
            <pc:sldMk cId="1032704305" sldId="297"/>
            <ac:grpSpMk id="3122" creationId="{B70033AD-FC9D-AF67-4E45-F1C2E890C5D3}"/>
          </ac:grpSpMkLst>
        </pc:grpChg>
        <pc:grpChg chg="mod">
          <ac:chgData name="Georgi Ivanov" userId="7e1b55540891ebeb" providerId="LiveId" clId="{D5C2B1E3-3E17-44F0-8B7A-9E0928E1AB27}" dt="2024-09-25T13:32:23.976" v="1637"/>
          <ac:grpSpMkLst>
            <pc:docMk/>
            <pc:sldMk cId="1032704305" sldId="297"/>
            <ac:grpSpMk id="3123" creationId="{68CF4F81-8783-B40B-95C2-2B66745DC660}"/>
          </ac:grpSpMkLst>
        </pc:grpChg>
        <pc:grpChg chg="mod">
          <ac:chgData name="Georgi Ivanov" userId="7e1b55540891ebeb" providerId="LiveId" clId="{D5C2B1E3-3E17-44F0-8B7A-9E0928E1AB27}" dt="2024-09-25T13:32:23.976" v="1637"/>
          <ac:grpSpMkLst>
            <pc:docMk/>
            <pc:sldMk cId="1032704305" sldId="297"/>
            <ac:grpSpMk id="3124" creationId="{ED5137E6-67ED-D52A-36ED-498A10B18152}"/>
          </ac:grpSpMkLst>
        </pc:grpChg>
        <pc:grpChg chg="mod">
          <ac:chgData name="Georgi Ivanov" userId="7e1b55540891ebeb" providerId="LiveId" clId="{D5C2B1E3-3E17-44F0-8B7A-9E0928E1AB27}" dt="2024-09-25T13:32:23.976" v="1637"/>
          <ac:grpSpMkLst>
            <pc:docMk/>
            <pc:sldMk cId="1032704305" sldId="297"/>
            <ac:grpSpMk id="3155" creationId="{3E0CA691-7EC2-7ABF-C958-93E20ABA0B6D}"/>
          </ac:grpSpMkLst>
        </pc:grpChg>
        <pc:grpChg chg="mod">
          <ac:chgData name="Georgi Ivanov" userId="7e1b55540891ebeb" providerId="LiveId" clId="{D5C2B1E3-3E17-44F0-8B7A-9E0928E1AB27}" dt="2024-09-25T13:32:23.976" v="1637"/>
          <ac:grpSpMkLst>
            <pc:docMk/>
            <pc:sldMk cId="1032704305" sldId="297"/>
            <ac:grpSpMk id="3156" creationId="{50D4D640-B6B5-E04D-D2C5-C16D1DCEE08D}"/>
          </ac:grpSpMkLst>
        </pc:grpChg>
        <pc:graphicFrameChg chg="mod">
          <ac:chgData name="Georgi Ivanov" userId="7e1b55540891ebeb" providerId="LiveId" clId="{D5C2B1E3-3E17-44F0-8B7A-9E0928E1AB27}" dt="2024-09-26T08:19:18.550" v="2820" actId="20577"/>
          <ac:graphicFrameMkLst>
            <pc:docMk/>
            <pc:sldMk cId="1032704305" sldId="297"/>
            <ac:graphicFrameMk id="2" creationId="{16286F52-393A-56B8-9D59-8DF52C2CAA10}"/>
          </ac:graphicFrameMkLst>
        </pc:graphicFrameChg>
        <pc:picChg chg="mod">
          <ac:chgData name="Georgi Ivanov" userId="7e1b55540891ebeb" providerId="LiveId" clId="{D5C2B1E3-3E17-44F0-8B7A-9E0928E1AB27}" dt="2024-09-24T18:42:12.208" v="107" actId="1076"/>
          <ac:picMkLst>
            <pc:docMk/>
            <pc:sldMk cId="1032704305" sldId="297"/>
            <ac:picMk id="12" creationId="{46CDE0A9-8289-2401-EED3-4A7A169BD774}"/>
          </ac:picMkLst>
        </pc:picChg>
        <pc:picChg chg="add mod">
          <ac:chgData name="Georgi Ivanov" userId="7e1b55540891ebeb" providerId="LiveId" clId="{D5C2B1E3-3E17-44F0-8B7A-9E0928E1AB27}" dt="2024-09-25T13:24:14.678" v="1517" actId="1076"/>
          <ac:picMkLst>
            <pc:docMk/>
            <pc:sldMk cId="1032704305" sldId="297"/>
            <ac:picMk id="3074" creationId="{4121E792-6E9C-7E3E-2924-F3B9F4387A67}"/>
          </ac:picMkLst>
        </pc:picChg>
      </pc:sldChg>
      <pc:sldChg chg="del">
        <pc:chgData name="Georgi Ivanov" userId="7e1b55540891ebeb" providerId="LiveId" clId="{D5C2B1E3-3E17-44F0-8B7A-9E0928E1AB27}" dt="2024-09-24T18:36:37.685" v="0" actId="47"/>
        <pc:sldMkLst>
          <pc:docMk/>
          <pc:sldMk cId="1139476994" sldId="298"/>
        </pc:sldMkLst>
      </pc:sldChg>
      <pc:sldChg chg="addSp delSp modSp add mod">
        <pc:chgData name="Georgi Ivanov" userId="7e1b55540891ebeb" providerId="LiveId" clId="{D5C2B1E3-3E17-44F0-8B7A-9E0928E1AB27}" dt="2024-09-24T18:57:07.388" v="514" actId="5793"/>
        <pc:sldMkLst>
          <pc:docMk/>
          <pc:sldMk cId="1972383463" sldId="298"/>
        </pc:sldMkLst>
        <pc:spChg chg="mod">
          <ac:chgData name="Georgi Ivanov" userId="7e1b55540891ebeb" providerId="LiveId" clId="{D5C2B1E3-3E17-44F0-8B7A-9E0928E1AB27}" dt="2024-09-24T18:39:40.140" v="79" actId="20577"/>
          <ac:spMkLst>
            <pc:docMk/>
            <pc:sldMk cId="1972383463" sldId="298"/>
            <ac:spMk id="2" creationId="{65A1F34D-EB98-4CAD-A1DE-7AC573B109A0}"/>
          </ac:spMkLst>
        </pc:spChg>
        <pc:spChg chg="add del mod">
          <ac:chgData name="Georgi Ivanov" userId="7e1b55540891ebeb" providerId="LiveId" clId="{D5C2B1E3-3E17-44F0-8B7A-9E0928E1AB27}" dt="2024-09-24T18:40:51.007" v="93" actId="478"/>
          <ac:spMkLst>
            <pc:docMk/>
            <pc:sldMk cId="1972383463" sldId="298"/>
            <ac:spMk id="3" creationId="{DF78BEF8-1AE8-0C39-D12A-C4BE103D617F}"/>
          </ac:spMkLst>
        </pc:spChg>
        <pc:spChg chg="add mod">
          <ac:chgData name="Georgi Ivanov" userId="7e1b55540891ebeb" providerId="LiveId" clId="{D5C2B1E3-3E17-44F0-8B7A-9E0928E1AB27}" dt="2024-09-24T18:57:07.388" v="514" actId="5793"/>
          <ac:spMkLst>
            <pc:docMk/>
            <pc:sldMk cId="1972383463" sldId="298"/>
            <ac:spMk id="7" creationId="{203753DF-B9CD-6766-A941-CC078E8576E8}"/>
          </ac:spMkLst>
        </pc:spChg>
        <pc:spChg chg="mod">
          <ac:chgData name="Georgi Ivanov" userId="7e1b55540891ebeb" providerId="LiveId" clId="{D5C2B1E3-3E17-44F0-8B7A-9E0928E1AB27}" dt="2024-09-24T18:57:00.894" v="510" actId="1076"/>
          <ac:spMkLst>
            <pc:docMk/>
            <pc:sldMk cId="1972383463" sldId="298"/>
            <ac:spMk id="59" creationId="{01381D6B-0A38-4E06-8506-A342F6A017DB}"/>
          </ac:spMkLst>
        </pc:spChg>
        <pc:spChg chg="mod">
          <ac:chgData name="Georgi Ivanov" userId="7e1b55540891ebeb" providerId="LiveId" clId="{D5C2B1E3-3E17-44F0-8B7A-9E0928E1AB27}" dt="2024-09-24T18:55:57.532" v="465" actId="1076"/>
          <ac:spMkLst>
            <pc:docMk/>
            <pc:sldMk cId="1972383463" sldId="298"/>
            <ac:spMk id="77" creationId="{6FF0B403-FADC-424A-A227-59D6B88F2456}"/>
          </ac:spMkLst>
        </pc:spChg>
        <pc:picChg chg="add mod">
          <ac:chgData name="Georgi Ivanov" userId="7e1b55540891ebeb" providerId="LiveId" clId="{D5C2B1E3-3E17-44F0-8B7A-9E0928E1AB27}" dt="2024-09-24T18:42:49.713" v="113" actId="1076"/>
          <ac:picMkLst>
            <pc:docMk/>
            <pc:sldMk cId="1972383463" sldId="298"/>
            <ac:picMk id="4" creationId="{A482FC57-17D3-3A23-46A2-1257FC345C5A}"/>
          </ac:picMkLst>
        </pc:picChg>
        <pc:picChg chg="del">
          <ac:chgData name="Georgi Ivanov" userId="7e1b55540891ebeb" providerId="LiveId" clId="{D5C2B1E3-3E17-44F0-8B7A-9E0928E1AB27}" dt="2024-09-24T18:42:36.498" v="111" actId="478"/>
          <ac:picMkLst>
            <pc:docMk/>
            <pc:sldMk cId="1972383463" sldId="298"/>
            <ac:picMk id="5" creationId="{8592CCF3-91E5-7807-DCC8-A2E49E6CA0ED}"/>
          </ac:picMkLst>
        </pc:picChg>
      </pc:sldChg>
      <pc:sldChg chg="addSp delSp modSp new mod">
        <pc:chgData name="Georgi Ivanov" userId="7e1b55540891ebeb" providerId="LiveId" clId="{D5C2B1E3-3E17-44F0-8B7A-9E0928E1AB27}" dt="2024-09-25T12:59:15.732" v="1114" actId="20577"/>
        <pc:sldMkLst>
          <pc:docMk/>
          <pc:sldMk cId="1322531086" sldId="299"/>
        </pc:sldMkLst>
        <pc:spChg chg="mod">
          <ac:chgData name="Georgi Ivanov" userId="7e1b55540891ebeb" providerId="LiveId" clId="{D5C2B1E3-3E17-44F0-8B7A-9E0928E1AB27}" dt="2024-09-25T12:59:15.732" v="1114" actId="20577"/>
          <ac:spMkLst>
            <pc:docMk/>
            <pc:sldMk cId="1322531086" sldId="299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4T19:06:39.782" v="639" actId="20577"/>
          <ac:spMkLst>
            <pc:docMk/>
            <pc:sldMk cId="1322531086" sldId="299"/>
            <ac:spMk id="3" creationId="{E3616238-46A4-D94F-D84B-7DE0BA6D908A}"/>
          </ac:spMkLst>
        </pc:spChg>
        <pc:spChg chg="mod">
          <ac:chgData name="Georgi Ivanov" userId="7e1b55540891ebeb" providerId="LiveId" clId="{D5C2B1E3-3E17-44F0-8B7A-9E0928E1AB27}" dt="2024-09-24T18:52:28.581" v="448" actId="12789"/>
          <ac:spMkLst>
            <pc:docMk/>
            <pc:sldMk cId="1322531086" sldId="299"/>
            <ac:spMk id="4" creationId="{E3D17250-7924-92B4-E7B0-8FEB3F9B0CAF}"/>
          </ac:spMkLst>
        </pc:spChg>
        <pc:spChg chg="add del mod">
          <ac:chgData name="Georgi Ivanov" userId="7e1b55540891ebeb" providerId="LiveId" clId="{D5C2B1E3-3E17-44F0-8B7A-9E0928E1AB27}" dt="2024-09-25T12:50:01.761" v="984" actId="21"/>
          <ac:spMkLst>
            <pc:docMk/>
            <pc:sldMk cId="1322531086" sldId="299"/>
            <ac:spMk id="5" creationId="{C2FC9430-89FA-B6F5-FF73-09BF4CD95552}"/>
          </ac:spMkLst>
        </pc:spChg>
        <pc:spChg chg="add mod">
          <ac:chgData name="Georgi Ivanov" userId="7e1b55540891ebeb" providerId="LiveId" clId="{D5C2B1E3-3E17-44F0-8B7A-9E0928E1AB27}" dt="2024-09-24T19:50:23.160" v="771" actId="1076"/>
          <ac:spMkLst>
            <pc:docMk/>
            <pc:sldMk cId="1322531086" sldId="299"/>
            <ac:spMk id="6" creationId="{E0AAB136-8414-6A21-03A5-A9548743C734}"/>
          </ac:spMkLst>
        </pc:spChg>
        <pc:spChg chg="add mod">
          <ac:chgData name="Georgi Ivanov" userId="7e1b55540891ebeb" providerId="LiveId" clId="{D5C2B1E3-3E17-44F0-8B7A-9E0928E1AB27}" dt="2024-09-24T19:33:31.025" v="734" actId="6549"/>
          <ac:spMkLst>
            <pc:docMk/>
            <pc:sldMk cId="1322531086" sldId="299"/>
            <ac:spMk id="7" creationId="{0EAB7573-B6B5-D04C-1A8F-E527D8F51F82}"/>
          </ac:spMkLst>
        </pc:spChg>
        <pc:spChg chg="add del">
          <ac:chgData name="Georgi Ivanov" userId="7e1b55540891ebeb" providerId="LiveId" clId="{D5C2B1E3-3E17-44F0-8B7A-9E0928E1AB27}" dt="2024-09-24T19:46:38.806" v="736" actId="22"/>
          <ac:spMkLst>
            <pc:docMk/>
            <pc:sldMk cId="1322531086" sldId="299"/>
            <ac:spMk id="9" creationId="{B24FD02B-4F29-0EA3-AD6C-5F417AB3B40E}"/>
          </ac:spMkLst>
        </pc:spChg>
        <pc:spChg chg="add del">
          <ac:chgData name="Georgi Ivanov" userId="7e1b55540891ebeb" providerId="LiveId" clId="{D5C2B1E3-3E17-44F0-8B7A-9E0928E1AB27}" dt="2024-09-24T19:51:22.127" v="773" actId="22"/>
          <ac:spMkLst>
            <pc:docMk/>
            <pc:sldMk cId="1322531086" sldId="299"/>
            <ac:spMk id="17" creationId="{266CA697-B432-50B5-DA45-1016A9EFCA8B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1" creationId="{DFAA174B-D86D-CB71-8474-058962143453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2" creationId="{26F7D1A0-3274-8ABA-D246-E1539E24FB34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3" creationId="{417CB08D-1D2C-CBEC-C938-11198D2988BF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4" creationId="{42BA0335-7FA1-CCF5-A811-8E2896777CB5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5" creationId="{9E14F7A9-FF4E-923B-CC01-366CF7C4F68A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6" creationId="{CD717686-6202-05FF-4B52-904115112C49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7" creationId="{8AC21C32-2DD1-16D1-1025-F2EC1C8357E1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8" creationId="{1613C157-D8CE-9749-A33E-D96220E943B3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9" creationId="{D9785239-7A2E-8D68-A9E9-070996E363ED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30" creationId="{20632001-33D8-773F-CC40-2E529DB4BBCD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31" creationId="{AC113E9B-40A8-41F9-4C4A-E3D0213A5B42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32" creationId="{BA949E1E-44DE-FF08-7484-AF6CD01B3F54}"/>
          </ac:spMkLst>
        </pc:spChg>
        <pc:spChg chg="add mod">
          <ac:chgData name="Georgi Ivanov" userId="7e1b55540891ebeb" providerId="LiveId" clId="{D5C2B1E3-3E17-44F0-8B7A-9E0928E1AB27}" dt="2024-09-24T20:05:26.341" v="807"/>
          <ac:spMkLst>
            <pc:docMk/>
            <pc:sldMk cId="1322531086" sldId="299"/>
            <ac:spMk id="33" creationId="{53478140-8BE6-5525-DF07-9358650A627B}"/>
          </ac:spMkLst>
        </pc:spChg>
        <pc:grpChg chg="add mod">
          <ac:chgData name="Georgi Ivanov" userId="7e1b55540891ebeb" providerId="LiveId" clId="{D5C2B1E3-3E17-44F0-8B7A-9E0928E1AB27}" dt="2024-09-24T19:49:32.188" v="753" actId="1076"/>
          <ac:grpSpMkLst>
            <pc:docMk/>
            <pc:sldMk cId="1322531086" sldId="299"/>
            <ac:grpSpMk id="14" creationId="{93FF40BB-26DA-E3DD-6351-24DE54E3BD81}"/>
          </ac:grpSpMkLst>
        </pc:grpChg>
        <pc:grpChg chg="add del mod">
          <ac:chgData name="Georgi Ivanov" userId="7e1b55540891ebeb" providerId="LiveId" clId="{D5C2B1E3-3E17-44F0-8B7A-9E0928E1AB27}" dt="2024-09-24T20:00:40.221" v="791" actId="478"/>
          <ac:grpSpMkLst>
            <pc:docMk/>
            <pc:sldMk cId="1322531086" sldId="299"/>
            <ac:grpSpMk id="20" creationId="{01DC1732-6B53-A4AF-3C10-E610157359A1}"/>
          </ac:grpSpMkLst>
        </pc:grpChg>
        <pc:picChg chg="add del mod">
          <ac:chgData name="Georgi Ivanov" userId="7e1b55540891ebeb" providerId="LiveId" clId="{D5C2B1E3-3E17-44F0-8B7A-9E0928E1AB27}" dt="2024-09-24T19:48:48.462" v="743" actId="478"/>
          <ac:picMkLst>
            <pc:docMk/>
            <pc:sldMk cId="1322531086" sldId="299"/>
            <ac:picMk id="11" creationId="{F0A23456-3AD1-96C9-533A-97B5E63B2EE5}"/>
          </ac:picMkLst>
        </pc:picChg>
        <pc:picChg chg="add mod">
          <ac:chgData name="Georgi Ivanov" userId="7e1b55540891ebeb" providerId="LiveId" clId="{D5C2B1E3-3E17-44F0-8B7A-9E0928E1AB27}" dt="2024-09-24T19:49:32.188" v="753" actId="1076"/>
          <ac:picMkLst>
            <pc:docMk/>
            <pc:sldMk cId="1322531086" sldId="299"/>
            <ac:picMk id="12" creationId="{219DB6DD-594A-8956-2C7D-A848844A957E}"/>
          </ac:picMkLst>
        </pc:picChg>
        <pc:picChg chg="add mod">
          <ac:chgData name="Georgi Ivanov" userId="7e1b55540891ebeb" providerId="LiveId" clId="{D5C2B1E3-3E17-44F0-8B7A-9E0928E1AB27}" dt="2024-09-24T19:49:32.188" v="753" actId="1076"/>
          <ac:picMkLst>
            <pc:docMk/>
            <pc:sldMk cId="1322531086" sldId="299"/>
            <ac:picMk id="13" creationId="{91F8EF9C-1BEE-8152-85FD-C1F244475C3E}"/>
          </ac:picMkLst>
        </pc:picChg>
        <pc:picChg chg="add mod">
          <ac:chgData name="Georgi Ivanov" userId="7e1b55540891ebeb" providerId="LiveId" clId="{D5C2B1E3-3E17-44F0-8B7A-9E0928E1AB27}" dt="2024-09-24T20:01:52.226" v="796" actId="1076"/>
          <ac:picMkLst>
            <pc:docMk/>
            <pc:sldMk cId="1322531086" sldId="299"/>
            <ac:picMk id="15" creationId="{FCC4914A-A8C0-9BC5-4089-27074B66A779}"/>
          </ac:picMkLst>
        </pc:picChg>
        <pc:picChg chg="add del mod">
          <ac:chgData name="Georgi Ivanov" userId="7e1b55540891ebeb" providerId="LiveId" clId="{D5C2B1E3-3E17-44F0-8B7A-9E0928E1AB27}" dt="2024-09-24T19:58:12.837" v="777" actId="478"/>
          <ac:picMkLst>
            <pc:docMk/>
            <pc:sldMk cId="1322531086" sldId="299"/>
            <ac:picMk id="19" creationId="{CC40F95A-8B2A-6FE9-C5F7-BF3D7CD73F0A}"/>
          </ac:picMkLst>
        </pc:picChg>
        <pc:picChg chg="add mod">
          <ac:chgData name="Georgi Ivanov" userId="7e1b55540891ebeb" providerId="LiveId" clId="{D5C2B1E3-3E17-44F0-8B7A-9E0928E1AB27}" dt="2024-09-24T20:01:39.224" v="794" actId="1076"/>
          <ac:picMkLst>
            <pc:docMk/>
            <pc:sldMk cId="1322531086" sldId="299"/>
            <ac:picMk id="1026" creationId="{1F45828B-8F5C-FF73-3C4B-A998B8DACFCB}"/>
          </ac:picMkLst>
        </pc:picChg>
        <pc:picChg chg="add mod">
          <ac:chgData name="Georgi Ivanov" userId="7e1b55540891ebeb" providerId="LiveId" clId="{D5C2B1E3-3E17-44F0-8B7A-9E0928E1AB27}" dt="2024-09-24T20:01:44.805" v="795" actId="1076"/>
          <ac:picMkLst>
            <pc:docMk/>
            <pc:sldMk cId="1322531086" sldId="299"/>
            <ac:picMk id="1028" creationId="{037AAB4F-B00B-7F7E-8EB1-FE647FD6520B}"/>
          </ac:picMkLst>
        </pc:picChg>
      </pc:sldChg>
      <pc:sldChg chg="addSp delSp modSp add mod">
        <pc:chgData name="Georgi Ivanov" userId="7e1b55540891ebeb" providerId="LiveId" clId="{D5C2B1E3-3E17-44F0-8B7A-9E0928E1AB27}" dt="2024-09-25T12:58:22.821" v="1100" actId="113"/>
        <pc:sldMkLst>
          <pc:docMk/>
          <pc:sldMk cId="2681470774" sldId="300"/>
        </pc:sldMkLst>
        <pc:spChg chg="mod">
          <ac:chgData name="Georgi Ivanov" userId="7e1b55540891ebeb" providerId="LiveId" clId="{D5C2B1E3-3E17-44F0-8B7A-9E0928E1AB27}" dt="2024-09-25T12:47:33.488" v="932" actId="20577"/>
          <ac:spMkLst>
            <pc:docMk/>
            <pc:sldMk cId="2681470774" sldId="300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5T12:58:22.821" v="1100" actId="113"/>
          <ac:spMkLst>
            <pc:docMk/>
            <pc:sldMk cId="2681470774" sldId="300"/>
            <ac:spMk id="3" creationId="{E3616238-46A4-D94F-D84B-7DE0BA6D908A}"/>
          </ac:spMkLst>
        </pc:spChg>
        <pc:spChg chg="del">
          <ac:chgData name="Georgi Ivanov" userId="7e1b55540891ebeb" providerId="LiveId" clId="{D5C2B1E3-3E17-44F0-8B7A-9E0928E1AB27}" dt="2024-09-25T12:32:48.759" v="809" actId="478"/>
          <ac:spMkLst>
            <pc:docMk/>
            <pc:sldMk cId="2681470774" sldId="300"/>
            <ac:spMk id="5" creationId="{C2FC9430-89FA-B6F5-FF73-09BF4CD95552}"/>
          </ac:spMkLst>
        </pc:spChg>
        <pc:spChg chg="del mod topLvl">
          <ac:chgData name="Georgi Ivanov" userId="7e1b55540891ebeb" providerId="LiveId" clId="{D5C2B1E3-3E17-44F0-8B7A-9E0928E1AB27}" dt="2024-09-25T12:54:47.751" v="1034" actId="478"/>
          <ac:spMkLst>
            <pc:docMk/>
            <pc:sldMk cId="2681470774" sldId="300"/>
            <ac:spMk id="6" creationId="{E0AAB136-8414-6A21-03A5-A9548743C734}"/>
          </ac:spMkLst>
        </pc:spChg>
        <pc:spChg chg="add del mod topLvl">
          <ac:chgData name="Georgi Ivanov" userId="7e1b55540891ebeb" providerId="LiveId" clId="{D5C2B1E3-3E17-44F0-8B7A-9E0928E1AB27}" dt="2024-09-25T12:54:30.323" v="1031" actId="478"/>
          <ac:spMkLst>
            <pc:docMk/>
            <pc:sldMk cId="2681470774" sldId="300"/>
            <ac:spMk id="7" creationId="{0EAB7573-B6B5-D04C-1A8F-E527D8F51F82}"/>
          </ac:spMkLst>
        </pc:spChg>
        <pc:spChg chg="add mod">
          <ac:chgData name="Georgi Ivanov" userId="7e1b55540891ebeb" providerId="LiveId" clId="{D5C2B1E3-3E17-44F0-8B7A-9E0928E1AB27}" dt="2024-09-25T12:55:46.354" v="1055" actId="1076"/>
          <ac:spMkLst>
            <pc:docMk/>
            <pc:sldMk cId="2681470774" sldId="300"/>
            <ac:spMk id="10" creationId="{39C09223-D36A-E074-1AA6-0CB54D96C302}"/>
          </ac:spMkLst>
        </pc:spChg>
        <pc:spChg chg="add mod">
          <ac:chgData name="Georgi Ivanov" userId="7e1b55540891ebeb" providerId="LiveId" clId="{D5C2B1E3-3E17-44F0-8B7A-9E0928E1AB27}" dt="2024-09-25T12:56:30.169" v="1074" actId="1076"/>
          <ac:spMkLst>
            <pc:docMk/>
            <pc:sldMk cId="2681470774" sldId="300"/>
            <ac:spMk id="11" creationId="{39CEC175-E2F9-A40F-65CB-92B68AEF21E7}"/>
          </ac:spMkLst>
        </pc:spChg>
        <pc:spChg chg="add mod">
          <ac:chgData name="Georgi Ivanov" userId="7e1b55540891ebeb" providerId="LiveId" clId="{D5C2B1E3-3E17-44F0-8B7A-9E0928E1AB27}" dt="2024-09-25T12:55:33.681" v="1052" actId="20577"/>
          <ac:spMkLst>
            <pc:docMk/>
            <pc:sldMk cId="2681470774" sldId="300"/>
            <ac:spMk id="16" creationId="{E970DDF6-1DAA-110B-AD62-F1DB1D9FB745}"/>
          </ac:spMkLst>
        </pc:spChg>
        <pc:spChg chg="add mod">
          <ac:chgData name="Georgi Ivanov" userId="7e1b55540891ebeb" providerId="LiveId" clId="{D5C2B1E3-3E17-44F0-8B7A-9E0928E1AB27}" dt="2024-09-25T12:50:16.899" v="987" actId="1076"/>
          <ac:spMkLst>
            <pc:docMk/>
            <pc:sldMk cId="2681470774" sldId="300"/>
            <ac:spMk id="18" creationId="{4804B82E-E9C1-DD3E-AEBA-9A64F4356BD5}"/>
          </ac:spMkLst>
        </pc:spChg>
        <pc:spChg chg="add mod">
          <ac:chgData name="Georgi Ivanov" userId="7e1b55540891ebeb" providerId="LiveId" clId="{D5C2B1E3-3E17-44F0-8B7A-9E0928E1AB27}" dt="2024-09-25T12:50:41.690" v="996" actId="1076"/>
          <ac:spMkLst>
            <pc:docMk/>
            <pc:sldMk cId="2681470774" sldId="300"/>
            <ac:spMk id="19" creationId="{4BBAE00B-5B22-3315-FC13-44FF9745CE42}"/>
          </ac:spMkLst>
        </pc:spChg>
        <pc:spChg chg="add del mod">
          <ac:chgData name="Georgi Ivanov" userId="7e1b55540891ebeb" providerId="LiveId" clId="{D5C2B1E3-3E17-44F0-8B7A-9E0928E1AB27}" dt="2024-09-25T12:50:25.891" v="989" actId="478"/>
          <ac:spMkLst>
            <pc:docMk/>
            <pc:sldMk cId="2681470774" sldId="300"/>
            <ac:spMk id="20" creationId="{865F0DF2-FD5A-9B32-0D1E-9A7609A07D44}"/>
          </ac:spMkLst>
        </pc:spChg>
        <pc:spChg chg="add del mod">
          <ac:chgData name="Georgi Ivanov" userId="7e1b55540891ebeb" providerId="LiveId" clId="{D5C2B1E3-3E17-44F0-8B7A-9E0928E1AB27}" dt="2024-09-25T12:50:27.666" v="990" actId="478"/>
          <ac:spMkLst>
            <pc:docMk/>
            <pc:sldMk cId="2681470774" sldId="300"/>
            <ac:spMk id="21" creationId="{8F2B42D3-0F24-9762-6A35-F50191E64351}"/>
          </ac:spMkLst>
        </pc:spChg>
        <pc:spChg chg="add del mod topLvl">
          <ac:chgData name="Georgi Ivanov" userId="7e1b55540891ebeb" providerId="LiveId" clId="{D5C2B1E3-3E17-44F0-8B7A-9E0928E1AB27}" dt="2024-09-25T12:57:14.653" v="1077" actId="478"/>
          <ac:spMkLst>
            <pc:docMk/>
            <pc:sldMk cId="2681470774" sldId="300"/>
            <ac:spMk id="23" creationId="{672B2073-1506-0507-8832-F6AF7199BBB9}"/>
          </ac:spMkLst>
        </pc:spChg>
        <pc:spChg chg="add mod">
          <ac:chgData name="Georgi Ivanov" userId="7e1b55540891ebeb" providerId="LiveId" clId="{D5C2B1E3-3E17-44F0-8B7A-9E0928E1AB27}" dt="2024-09-25T12:57:58.384" v="1085" actId="1076"/>
          <ac:spMkLst>
            <pc:docMk/>
            <pc:sldMk cId="2681470774" sldId="300"/>
            <ac:spMk id="24" creationId="{C2FC9430-89FA-B6F5-FF73-09BF4CD95552}"/>
          </ac:spMkLst>
        </pc:spChg>
        <pc:spChg chg="add mod">
          <ac:chgData name="Georgi Ivanov" userId="7e1b55540891ebeb" providerId="LiveId" clId="{D5C2B1E3-3E17-44F0-8B7A-9E0928E1AB27}" dt="2024-09-25T12:50:41.690" v="996" actId="1076"/>
          <ac:spMkLst>
            <pc:docMk/>
            <pc:sldMk cId="2681470774" sldId="300"/>
            <ac:spMk id="25" creationId="{2E96F421-5C8F-D7AC-CB8E-03B2D301D14F}"/>
          </ac:spMkLst>
        </pc:spChg>
        <pc:spChg chg="add mod">
          <ac:chgData name="Georgi Ivanov" userId="7e1b55540891ebeb" providerId="LiveId" clId="{D5C2B1E3-3E17-44F0-8B7A-9E0928E1AB27}" dt="2024-09-25T12:50:41.690" v="996" actId="1076"/>
          <ac:spMkLst>
            <pc:docMk/>
            <pc:sldMk cId="2681470774" sldId="300"/>
            <ac:spMk id="26" creationId="{0D0C9F23-91D5-336C-C039-30C996918F95}"/>
          </ac:spMkLst>
        </pc:spChg>
        <pc:spChg chg="del">
          <ac:chgData name="Georgi Ivanov" userId="7e1b55540891ebeb" providerId="LiveId" clId="{D5C2B1E3-3E17-44F0-8B7A-9E0928E1AB27}" dt="2024-09-25T12:32:48.759" v="809" actId="478"/>
          <ac:spMkLst>
            <pc:docMk/>
            <pc:sldMk cId="2681470774" sldId="300"/>
            <ac:spMk id="33" creationId="{53478140-8BE6-5525-DF07-9358650A627B}"/>
          </ac:spMkLst>
        </pc:spChg>
        <pc:spChg chg="add mod">
          <ac:chgData name="Georgi Ivanov" userId="7e1b55540891ebeb" providerId="LiveId" clId="{D5C2B1E3-3E17-44F0-8B7A-9E0928E1AB27}" dt="2024-09-25T12:58:01.957" v="1086" actId="14100"/>
          <ac:spMkLst>
            <pc:docMk/>
            <pc:sldMk cId="2681470774" sldId="300"/>
            <ac:spMk id="34" creationId="{F24EF291-C501-D101-0029-071EE9043CF4}"/>
          </ac:spMkLst>
        </pc:spChg>
        <pc:grpChg chg="add del mod">
          <ac:chgData name="Georgi Ivanov" userId="7e1b55540891ebeb" providerId="LiveId" clId="{D5C2B1E3-3E17-44F0-8B7A-9E0928E1AB27}" dt="2024-09-25T12:54:47.751" v="1034" actId="478"/>
          <ac:grpSpMkLst>
            <pc:docMk/>
            <pc:sldMk cId="2681470774" sldId="300"/>
            <ac:grpSpMk id="8" creationId="{812F40D0-F814-BF21-B637-D31D88C371F3}"/>
          </ac:grpSpMkLst>
        </pc:grpChg>
        <pc:grpChg chg="add del mod">
          <ac:chgData name="Georgi Ivanov" userId="7e1b55540891ebeb" providerId="LiveId" clId="{D5C2B1E3-3E17-44F0-8B7A-9E0928E1AB27}" dt="2024-09-25T12:38:03.408" v="887" actId="165"/>
          <ac:grpSpMkLst>
            <pc:docMk/>
            <pc:sldMk cId="2681470774" sldId="300"/>
            <ac:grpSpMk id="9" creationId="{4EA1D100-0D5A-AD98-CBD6-3B7FAC4E147C}"/>
          </ac:grpSpMkLst>
        </pc:grpChg>
        <pc:grpChg chg="mod topLvl">
          <ac:chgData name="Georgi Ivanov" userId="7e1b55540891ebeb" providerId="LiveId" clId="{D5C2B1E3-3E17-44F0-8B7A-9E0928E1AB27}" dt="2024-09-25T12:55:02.013" v="1039" actId="1076"/>
          <ac:grpSpMkLst>
            <pc:docMk/>
            <pc:sldMk cId="2681470774" sldId="300"/>
            <ac:grpSpMk id="14" creationId="{93FF40BB-26DA-E3DD-6351-24DE54E3BD81}"/>
          </ac:grpSpMkLst>
        </pc:grpChg>
        <pc:grpChg chg="add del mod">
          <ac:chgData name="Georgi Ivanov" userId="7e1b55540891ebeb" providerId="LiveId" clId="{D5C2B1E3-3E17-44F0-8B7A-9E0928E1AB27}" dt="2024-09-25T12:54:25.242" v="1030" actId="165"/>
          <ac:grpSpMkLst>
            <pc:docMk/>
            <pc:sldMk cId="2681470774" sldId="300"/>
            <ac:grpSpMk id="17" creationId="{58CDC86F-C2E6-8340-B71C-EC240DF61C89}"/>
          </ac:grpSpMkLst>
        </pc:grpChg>
        <pc:grpChg chg="add mod topLvl">
          <ac:chgData name="Georgi Ivanov" userId="7e1b55540891ebeb" providerId="LiveId" clId="{D5C2B1E3-3E17-44F0-8B7A-9E0928E1AB27}" dt="2024-09-25T12:57:53.643" v="1084" actId="1076"/>
          <ac:grpSpMkLst>
            <pc:docMk/>
            <pc:sldMk cId="2681470774" sldId="300"/>
            <ac:grpSpMk id="31" creationId="{1FFC8AE4-5582-19C0-DED3-63D8270B8571}"/>
          </ac:grpSpMkLst>
        </pc:grpChg>
        <pc:grpChg chg="add del mod">
          <ac:chgData name="Georgi Ivanov" userId="7e1b55540891ebeb" providerId="LiveId" clId="{D5C2B1E3-3E17-44F0-8B7A-9E0928E1AB27}" dt="2024-09-25T12:54:38.210" v="1033" actId="165"/>
          <ac:grpSpMkLst>
            <pc:docMk/>
            <pc:sldMk cId="2681470774" sldId="300"/>
            <ac:grpSpMk id="32" creationId="{CED7C7C4-9EF0-D034-523D-CF0F3057B6DB}"/>
          </ac:grpSpMkLst>
        </pc:grpChg>
        <pc:picChg chg="mod">
          <ac:chgData name="Georgi Ivanov" userId="7e1b55540891ebeb" providerId="LiveId" clId="{D5C2B1E3-3E17-44F0-8B7A-9E0928E1AB27}" dt="2024-09-25T12:55:02.013" v="1039" actId="1076"/>
          <ac:picMkLst>
            <pc:docMk/>
            <pc:sldMk cId="2681470774" sldId="300"/>
            <ac:picMk id="12" creationId="{219DB6DD-594A-8956-2C7D-A848844A957E}"/>
          </ac:picMkLst>
        </pc:picChg>
        <pc:picChg chg="mod">
          <ac:chgData name="Georgi Ivanov" userId="7e1b55540891ebeb" providerId="LiveId" clId="{D5C2B1E3-3E17-44F0-8B7A-9E0928E1AB27}" dt="2024-09-25T12:55:02.013" v="1039" actId="1076"/>
          <ac:picMkLst>
            <pc:docMk/>
            <pc:sldMk cId="2681470774" sldId="300"/>
            <ac:picMk id="13" creationId="{91F8EF9C-1BEE-8152-85FD-C1F244475C3E}"/>
          </ac:picMkLst>
        </pc:picChg>
        <pc:picChg chg="mod topLvl">
          <ac:chgData name="Georgi Ivanov" userId="7e1b55540891ebeb" providerId="LiveId" clId="{D5C2B1E3-3E17-44F0-8B7A-9E0928E1AB27}" dt="2024-09-25T12:54:33.204" v="1032" actId="1076"/>
          <ac:picMkLst>
            <pc:docMk/>
            <pc:sldMk cId="2681470774" sldId="300"/>
            <ac:picMk id="15" creationId="{FCC4914A-A8C0-9BC5-4089-27074B66A779}"/>
          </ac:picMkLst>
        </pc:picChg>
        <pc:picChg chg="add del mod">
          <ac:chgData name="Georgi Ivanov" userId="7e1b55540891ebeb" providerId="LiveId" clId="{D5C2B1E3-3E17-44F0-8B7A-9E0928E1AB27}" dt="2024-09-25T12:52:11.392" v="1019" actId="478"/>
          <ac:picMkLst>
            <pc:docMk/>
            <pc:sldMk cId="2681470774" sldId="300"/>
            <ac:picMk id="22" creationId="{856D5548-0AFD-465E-F78E-02BAEC17451A}"/>
          </ac:picMkLst>
        </pc:picChg>
        <pc:picChg chg="add del mod">
          <ac:chgData name="Georgi Ivanov" userId="7e1b55540891ebeb" providerId="LiveId" clId="{D5C2B1E3-3E17-44F0-8B7A-9E0928E1AB27}" dt="2024-09-25T12:52:10.969" v="1018" actId="478"/>
          <ac:picMkLst>
            <pc:docMk/>
            <pc:sldMk cId="2681470774" sldId="300"/>
            <ac:picMk id="27" creationId="{E6F39BB3-989F-5A73-0040-5C5A7AAD7633}"/>
          </ac:picMkLst>
        </pc:picChg>
        <pc:picChg chg="add del mod">
          <ac:chgData name="Georgi Ivanov" userId="7e1b55540891ebeb" providerId="LiveId" clId="{D5C2B1E3-3E17-44F0-8B7A-9E0928E1AB27}" dt="2024-09-25T12:52:10.329" v="1017" actId="478"/>
          <ac:picMkLst>
            <pc:docMk/>
            <pc:sldMk cId="2681470774" sldId="300"/>
            <ac:picMk id="28" creationId="{EFB6A4E7-EB39-8D27-F9CA-A80DD6D6F66F}"/>
          </ac:picMkLst>
        </pc:picChg>
        <pc:picChg chg="add mod">
          <ac:chgData name="Georgi Ivanov" userId="7e1b55540891ebeb" providerId="LiveId" clId="{D5C2B1E3-3E17-44F0-8B7A-9E0928E1AB27}" dt="2024-09-25T12:57:53.643" v="1084" actId="1076"/>
          <ac:picMkLst>
            <pc:docMk/>
            <pc:sldMk cId="2681470774" sldId="300"/>
            <ac:picMk id="29" creationId="{589B69B8-B088-4632-7BDA-773B26D65CB9}"/>
          </ac:picMkLst>
        </pc:picChg>
        <pc:picChg chg="add mod">
          <ac:chgData name="Georgi Ivanov" userId="7e1b55540891ebeb" providerId="LiveId" clId="{D5C2B1E3-3E17-44F0-8B7A-9E0928E1AB27}" dt="2024-09-25T12:57:53.643" v="1084" actId="1076"/>
          <ac:picMkLst>
            <pc:docMk/>
            <pc:sldMk cId="2681470774" sldId="300"/>
            <ac:picMk id="30" creationId="{804CD20B-D34E-E250-FE43-7F9A9816001B}"/>
          </ac:picMkLst>
        </pc:picChg>
        <pc:picChg chg="del">
          <ac:chgData name="Georgi Ivanov" userId="7e1b55540891ebeb" providerId="LiveId" clId="{D5C2B1E3-3E17-44F0-8B7A-9E0928E1AB27}" dt="2024-09-25T12:32:48.759" v="809" actId="478"/>
          <ac:picMkLst>
            <pc:docMk/>
            <pc:sldMk cId="2681470774" sldId="300"/>
            <ac:picMk id="1026" creationId="{1F45828B-8F5C-FF73-3C4B-A998B8DACFCB}"/>
          </ac:picMkLst>
        </pc:picChg>
        <pc:picChg chg="del">
          <ac:chgData name="Georgi Ivanov" userId="7e1b55540891ebeb" providerId="LiveId" clId="{D5C2B1E3-3E17-44F0-8B7A-9E0928E1AB27}" dt="2024-09-25T12:32:48.759" v="809" actId="478"/>
          <ac:picMkLst>
            <pc:docMk/>
            <pc:sldMk cId="2681470774" sldId="300"/>
            <ac:picMk id="1028" creationId="{037AAB4F-B00B-7F7E-8EB1-FE647FD6520B}"/>
          </ac:picMkLst>
        </pc:picChg>
        <pc:picChg chg="add mod">
          <ac:chgData name="Georgi Ivanov" userId="7e1b55540891ebeb" providerId="LiveId" clId="{D5C2B1E3-3E17-44F0-8B7A-9E0928E1AB27}" dt="2024-09-25T12:57:53.643" v="1084" actId="1076"/>
          <ac:picMkLst>
            <pc:docMk/>
            <pc:sldMk cId="2681470774" sldId="300"/>
            <ac:picMk id="2050" creationId="{5E82655F-7EC7-C105-EAA2-389E5E131EBC}"/>
          </ac:picMkLst>
        </pc:picChg>
      </pc:sldChg>
      <pc:sldChg chg="modSp add mod">
        <pc:chgData name="Georgi Ivanov" userId="7e1b55540891ebeb" providerId="LiveId" clId="{D5C2B1E3-3E17-44F0-8B7A-9E0928E1AB27}" dt="2024-09-25T12:59:27.396" v="1127" actId="20577"/>
        <pc:sldMkLst>
          <pc:docMk/>
          <pc:sldMk cId="1192031428" sldId="301"/>
        </pc:sldMkLst>
        <pc:spChg chg="mod">
          <ac:chgData name="Georgi Ivanov" userId="7e1b55540891ebeb" providerId="LiveId" clId="{D5C2B1E3-3E17-44F0-8B7A-9E0928E1AB27}" dt="2024-09-25T12:59:27.396" v="1127" actId="20577"/>
          <ac:spMkLst>
            <pc:docMk/>
            <pc:sldMk cId="1192031428" sldId="301"/>
            <ac:spMk id="2" creationId="{DD69C8D6-1353-8956-3F07-99E94229D42C}"/>
          </ac:spMkLst>
        </pc:spChg>
      </pc:sldChg>
      <pc:sldChg chg="modSp add mod">
        <pc:chgData name="Georgi Ivanov" userId="7e1b55540891ebeb" providerId="LiveId" clId="{D5C2B1E3-3E17-44F0-8B7A-9E0928E1AB27}" dt="2024-09-25T12:59:42.784" v="1144" actId="20577"/>
        <pc:sldMkLst>
          <pc:docMk/>
          <pc:sldMk cId="1972952743" sldId="302"/>
        </pc:sldMkLst>
        <pc:spChg chg="mod">
          <ac:chgData name="Georgi Ivanov" userId="7e1b55540891ebeb" providerId="LiveId" clId="{D5C2B1E3-3E17-44F0-8B7A-9E0928E1AB27}" dt="2024-09-25T12:59:42.784" v="1144" actId="20577"/>
          <ac:spMkLst>
            <pc:docMk/>
            <pc:sldMk cId="1972952743" sldId="302"/>
            <ac:spMk id="2" creationId="{DD69C8D6-1353-8956-3F07-99E94229D42C}"/>
          </ac:spMkLst>
        </pc:spChg>
      </pc:sldChg>
      <pc:sldChg chg="addSp delSp modSp add mod">
        <pc:chgData name="Georgi Ivanov" userId="7e1b55540891ebeb" providerId="LiveId" clId="{D5C2B1E3-3E17-44F0-8B7A-9E0928E1AB27}" dt="2024-09-25T13:14:25.978" v="1413" actId="1076"/>
        <pc:sldMkLst>
          <pc:docMk/>
          <pc:sldMk cId="3905450874" sldId="303"/>
        </pc:sldMkLst>
        <pc:spChg chg="add del mod">
          <ac:chgData name="Georgi Ivanov" userId="7e1b55540891ebeb" providerId="LiveId" clId="{D5C2B1E3-3E17-44F0-8B7A-9E0928E1AB27}" dt="2024-09-25T13:14:15.380" v="1412" actId="1076"/>
          <ac:spMkLst>
            <pc:docMk/>
            <pc:sldMk cId="3905450874" sldId="303"/>
            <ac:spMk id="12" creationId="{084BFAB7-1E03-4EB2-8CCE-0C5CACEA3CC1}"/>
          </ac:spMkLst>
        </pc:spChg>
        <pc:spChg chg="mod">
          <ac:chgData name="Georgi Ivanov" userId="7e1b55540891ebeb" providerId="LiveId" clId="{D5C2B1E3-3E17-44F0-8B7A-9E0928E1AB27}" dt="2024-09-25T13:14:25.978" v="1413" actId="1076"/>
          <ac:spMkLst>
            <pc:docMk/>
            <pc:sldMk cId="3905450874" sldId="303"/>
            <ac:spMk id="15" creationId="{31CC1986-C0F2-4C1B-8575-225EEE4D561B}"/>
          </ac:spMkLst>
        </pc:spChg>
        <pc:spChg chg="del mod">
          <ac:chgData name="Georgi Ivanov" userId="7e1b55540891ebeb" providerId="LiveId" clId="{D5C2B1E3-3E17-44F0-8B7A-9E0928E1AB27}" dt="2024-09-25T13:14:12.310" v="1410" actId="478"/>
          <ac:spMkLst>
            <pc:docMk/>
            <pc:sldMk cId="3905450874" sldId="303"/>
            <ac:spMk id="16" creationId="{73876DDB-D869-4E80-9AE0-B1B350CCA131}"/>
          </ac:spMkLst>
        </pc:spChg>
        <pc:spChg chg="mod">
          <ac:chgData name="Georgi Ivanov" userId="7e1b55540891ebeb" providerId="LiveId" clId="{D5C2B1E3-3E17-44F0-8B7A-9E0928E1AB27}" dt="2024-09-25T13:02:08.598" v="1193" actId="1076"/>
          <ac:spMkLst>
            <pc:docMk/>
            <pc:sldMk cId="3905450874" sldId="303"/>
            <ac:spMk id="31" creationId="{246F018F-2061-4376-B7CA-EA7870C7DF33}"/>
          </ac:spMkLst>
        </pc:spChg>
        <pc:spChg chg="mod">
          <ac:chgData name="Georgi Ivanov" userId="7e1b55540891ebeb" providerId="LiveId" clId="{D5C2B1E3-3E17-44F0-8B7A-9E0928E1AB27}" dt="2024-09-25T13:02:24.367" v="1208" actId="14100"/>
          <ac:spMkLst>
            <pc:docMk/>
            <pc:sldMk cId="3905450874" sldId="303"/>
            <ac:spMk id="32" creationId="{A4781CB8-6941-4A5A-B54F-1F881A26A730}"/>
          </ac:spMkLst>
        </pc:spChg>
        <pc:spChg chg="mod">
          <ac:chgData name="Georgi Ivanov" userId="7e1b55540891ebeb" providerId="LiveId" clId="{D5C2B1E3-3E17-44F0-8B7A-9E0928E1AB27}" dt="2024-09-25T13:02:12.841" v="1199" actId="20577"/>
          <ac:spMkLst>
            <pc:docMk/>
            <pc:sldMk cId="3905450874" sldId="303"/>
            <ac:spMk id="33" creationId="{4AB2ACD1-6140-4842-BC3E-5D762A5714D4}"/>
          </ac:spMkLst>
        </pc:spChg>
        <pc:spChg chg="mod">
          <ac:chgData name="Georgi Ivanov" userId="7e1b55540891ebeb" providerId="LiveId" clId="{D5C2B1E3-3E17-44F0-8B7A-9E0928E1AB27}" dt="2024-09-25T13:02:52.082" v="1266" actId="20577"/>
          <ac:spMkLst>
            <pc:docMk/>
            <pc:sldMk cId="3905450874" sldId="303"/>
            <ac:spMk id="37" creationId="{C8A0FE49-A2E6-4288-95C1-416B721FE671}"/>
          </ac:spMkLst>
        </pc:spChg>
        <pc:spChg chg="mod">
          <ac:chgData name="Georgi Ivanov" userId="7e1b55540891ebeb" providerId="LiveId" clId="{D5C2B1E3-3E17-44F0-8B7A-9E0928E1AB27}" dt="2024-09-25T13:03:06.441" v="1292" actId="20577"/>
          <ac:spMkLst>
            <pc:docMk/>
            <pc:sldMk cId="3905450874" sldId="303"/>
            <ac:spMk id="38" creationId="{4C541DA1-3474-448E-85B7-DCDCAB60D849}"/>
          </ac:spMkLst>
        </pc:spChg>
        <pc:spChg chg="mod">
          <ac:chgData name="Georgi Ivanov" userId="7e1b55540891ebeb" providerId="LiveId" clId="{D5C2B1E3-3E17-44F0-8B7A-9E0928E1AB27}" dt="2024-09-25T13:03:27.073" v="1331" actId="313"/>
          <ac:spMkLst>
            <pc:docMk/>
            <pc:sldMk cId="3905450874" sldId="303"/>
            <ac:spMk id="39" creationId="{4D0DD9E9-8C48-41FB-81FC-E16539A15F21}"/>
          </ac:spMkLst>
        </pc:spChg>
        <pc:picChg chg="mod">
          <ac:chgData name="Georgi Ivanov" userId="7e1b55540891ebeb" providerId="LiveId" clId="{D5C2B1E3-3E17-44F0-8B7A-9E0928E1AB27}" dt="2024-09-25T13:03:32.624" v="1333" actId="1076"/>
          <ac:picMkLst>
            <pc:docMk/>
            <pc:sldMk cId="3905450874" sldId="303"/>
            <ac:picMk id="6" creationId="{4C98512E-B76C-AAC0-813D-EBAF42C0CD10}"/>
          </ac:picMkLst>
        </pc:picChg>
      </pc:sldChg>
      <pc:sldChg chg="modSp add mod">
        <pc:chgData name="Georgi Ivanov" userId="7e1b55540891ebeb" providerId="LiveId" clId="{D5C2B1E3-3E17-44F0-8B7A-9E0928E1AB27}" dt="2024-09-25T13:21:56.106" v="1480" actId="313"/>
        <pc:sldMkLst>
          <pc:docMk/>
          <pc:sldMk cId="2750299626" sldId="304"/>
        </pc:sldMkLst>
        <pc:spChg chg="mod">
          <ac:chgData name="Georgi Ivanov" userId="7e1b55540891ebeb" providerId="LiveId" clId="{D5C2B1E3-3E17-44F0-8B7A-9E0928E1AB27}" dt="2024-09-25T13:21:56.106" v="1480" actId="313"/>
          <ac:spMkLst>
            <pc:docMk/>
            <pc:sldMk cId="2750299626" sldId="304"/>
            <ac:spMk id="2" creationId="{DD69C8D6-1353-8956-3F07-99E94229D42C}"/>
          </ac:spMkLst>
        </pc:spChg>
      </pc:sldChg>
      <pc:sldChg chg="addSp delSp modSp add mod">
        <pc:chgData name="Georgi Ivanov" userId="7e1b55540891ebeb" providerId="LiveId" clId="{D5C2B1E3-3E17-44F0-8B7A-9E0928E1AB27}" dt="2024-09-25T13:24:46.212" v="1524" actId="1076"/>
        <pc:sldMkLst>
          <pc:docMk/>
          <pc:sldMk cId="1652063002" sldId="305"/>
        </pc:sldMkLst>
        <pc:spChg chg="mod">
          <ac:chgData name="Georgi Ivanov" userId="7e1b55540891ebeb" providerId="LiveId" clId="{D5C2B1E3-3E17-44F0-8B7A-9E0928E1AB27}" dt="2024-09-25T13:22:40.261" v="1507" actId="20577"/>
          <ac:spMkLst>
            <pc:docMk/>
            <pc:sldMk cId="1652063002" sldId="305"/>
            <ac:spMk id="2" creationId="{65A1F34D-EB98-4CAD-A1DE-7AC573B109A0}"/>
          </ac:spMkLst>
        </pc:spChg>
        <pc:spChg chg="mod">
          <ac:chgData name="Georgi Ivanov" userId="7e1b55540891ebeb" providerId="LiveId" clId="{D5C2B1E3-3E17-44F0-8B7A-9E0928E1AB27}" dt="2024-09-25T13:23:16.870" v="1511" actId="12"/>
          <ac:spMkLst>
            <pc:docMk/>
            <pc:sldMk cId="1652063002" sldId="305"/>
            <ac:spMk id="59" creationId="{01381D6B-0A38-4E06-8506-A342F6A017DB}"/>
          </ac:spMkLst>
        </pc:spChg>
        <pc:picChg chg="add mod">
          <ac:chgData name="Georgi Ivanov" userId="7e1b55540891ebeb" providerId="LiveId" clId="{D5C2B1E3-3E17-44F0-8B7A-9E0928E1AB27}" dt="2024-09-25T13:24:46.212" v="1524" actId="1076"/>
          <ac:picMkLst>
            <pc:docMk/>
            <pc:sldMk cId="1652063002" sldId="305"/>
            <ac:picMk id="3" creationId="{DB4F0400-51F6-DEFA-BF32-6C2CE7E690FE}"/>
          </ac:picMkLst>
        </pc:picChg>
        <pc:picChg chg="del">
          <ac:chgData name="Georgi Ivanov" userId="7e1b55540891ebeb" providerId="LiveId" clId="{D5C2B1E3-3E17-44F0-8B7A-9E0928E1AB27}" dt="2024-09-25T13:24:33.238" v="1523" actId="478"/>
          <ac:picMkLst>
            <pc:docMk/>
            <pc:sldMk cId="1652063002" sldId="305"/>
            <ac:picMk id="4" creationId="{A482FC57-17D3-3A23-46A2-1257FC345C5A}"/>
          </ac:picMkLst>
        </pc:picChg>
      </pc:sldChg>
      <pc:sldChg chg="addSp delSp modSp add mod">
        <pc:chgData name="Georgi Ivanov" userId="7e1b55540891ebeb" providerId="LiveId" clId="{D5C2B1E3-3E17-44F0-8B7A-9E0928E1AB27}" dt="2024-09-26T08:34:30.863" v="2904" actId="2711"/>
        <pc:sldMkLst>
          <pc:docMk/>
          <pc:sldMk cId="533037609" sldId="306"/>
        </pc:sldMkLst>
        <pc:spChg chg="mod">
          <ac:chgData name="Georgi Ivanov" userId="7e1b55540891ebeb" providerId="LiveId" clId="{D5C2B1E3-3E17-44F0-8B7A-9E0928E1AB27}" dt="2024-09-25T13:26:18.054" v="1554" actId="20577"/>
          <ac:spMkLst>
            <pc:docMk/>
            <pc:sldMk cId="533037609" sldId="306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34:30.863" v="2904" actId="2711"/>
          <ac:spMkLst>
            <pc:docMk/>
            <pc:sldMk cId="533037609" sldId="306"/>
            <ac:spMk id="3" creationId="{E3616238-46A4-D94F-D84B-7DE0BA6D908A}"/>
          </ac:spMkLst>
        </pc:spChg>
        <pc:spChg chg="add del mod">
          <ac:chgData name="Georgi Ivanov" userId="7e1b55540891ebeb" providerId="LiveId" clId="{D5C2B1E3-3E17-44F0-8B7A-9E0928E1AB27}" dt="2024-09-26T07:52:41.207" v="2283" actId="478"/>
          <ac:spMkLst>
            <pc:docMk/>
            <pc:sldMk cId="533037609" sldId="306"/>
            <ac:spMk id="9" creationId="{5BDC83DD-E745-A414-9B0D-D250E0A4C626}"/>
          </ac:spMkLst>
        </pc:spChg>
        <pc:spChg chg="del">
          <ac:chgData name="Georgi Ivanov" userId="7e1b55540891ebeb" providerId="LiveId" clId="{D5C2B1E3-3E17-44F0-8B7A-9E0928E1AB27}" dt="2024-09-26T07:42:50.019" v="2151" actId="478"/>
          <ac:spMkLst>
            <pc:docMk/>
            <pc:sldMk cId="533037609" sldId="306"/>
            <ac:spMk id="10" creationId="{39C09223-D36A-E074-1AA6-0CB54D96C302}"/>
          </ac:spMkLst>
        </pc:spChg>
        <pc:spChg chg="del">
          <ac:chgData name="Georgi Ivanov" userId="7e1b55540891ebeb" providerId="LiveId" clId="{D5C2B1E3-3E17-44F0-8B7A-9E0928E1AB27}" dt="2024-09-26T07:42:50.019" v="2151" actId="478"/>
          <ac:spMkLst>
            <pc:docMk/>
            <pc:sldMk cId="533037609" sldId="306"/>
            <ac:spMk id="11" creationId="{39CEC175-E2F9-A40F-65CB-92B68AEF21E7}"/>
          </ac:spMkLst>
        </pc:spChg>
        <pc:spChg chg="del">
          <ac:chgData name="Georgi Ivanov" userId="7e1b55540891ebeb" providerId="LiveId" clId="{D5C2B1E3-3E17-44F0-8B7A-9E0928E1AB27}" dt="2024-09-26T07:42:50.019" v="2151" actId="478"/>
          <ac:spMkLst>
            <pc:docMk/>
            <pc:sldMk cId="533037609" sldId="306"/>
            <ac:spMk id="16" creationId="{E970DDF6-1DAA-110B-AD62-F1DB1D9FB745}"/>
          </ac:spMkLst>
        </pc:spChg>
        <pc:spChg chg="add del mod">
          <ac:chgData name="Georgi Ivanov" userId="7e1b55540891ebeb" providerId="LiveId" clId="{D5C2B1E3-3E17-44F0-8B7A-9E0928E1AB27}" dt="2024-09-26T07:49:48.191" v="2227" actId="478"/>
          <ac:spMkLst>
            <pc:docMk/>
            <pc:sldMk cId="533037609" sldId="306"/>
            <ac:spMk id="17" creationId="{25ED45C8-79E0-B611-B86C-08135DDA99F5}"/>
          </ac:spMkLst>
        </pc:spChg>
        <pc:spChg chg="mod">
          <ac:chgData name="Georgi Ivanov" userId="7e1b55540891ebeb" providerId="LiveId" clId="{D5C2B1E3-3E17-44F0-8B7A-9E0928E1AB27}" dt="2024-09-26T08:21:52.933" v="2821" actId="1076"/>
          <ac:spMkLst>
            <pc:docMk/>
            <pc:sldMk cId="533037609" sldId="306"/>
            <ac:spMk id="18" creationId="{4804B82E-E9C1-DD3E-AEBA-9A64F4356BD5}"/>
          </ac:spMkLst>
        </pc:spChg>
        <pc:spChg chg="mod">
          <ac:chgData name="Georgi Ivanov" userId="7e1b55540891ebeb" providerId="LiveId" clId="{D5C2B1E3-3E17-44F0-8B7A-9E0928E1AB27}" dt="2024-09-26T08:21:52.933" v="2821" actId="1076"/>
          <ac:spMkLst>
            <pc:docMk/>
            <pc:sldMk cId="533037609" sldId="306"/>
            <ac:spMk id="19" creationId="{4BBAE00B-5B22-3315-FC13-44FF9745CE42}"/>
          </ac:spMkLst>
        </pc:spChg>
        <pc:spChg chg="add mod">
          <ac:chgData name="Georgi Ivanov" userId="7e1b55540891ebeb" providerId="LiveId" clId="{D5C2B1E3-3E17-44F0-8B7A-9E0928E1AB27}" dt="2024-09-26T08:01:18.535" v="2467" actId="688"/>
          <ac:spMkLst>
            <pc:docMk/>
            <pc:sldMk cId="533037609" sldId="306"/>
            <ac:spMk id="20" creationId="{8A837539-3BE5-3AF8-3D24-30F54984B180}"/>
          </ac:spMkLst>
        </pc:spChg>
        <pc:spChg chg="add 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21" creationId="{2E0BF118-8043-6DC3-A6B7-D439D8ADC402}"/>
          </ac:spMkLst>
        </pc:spChg>
        <pc:spChg chg="add 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22" creationId="{5E3B1A33-E7D8-89B0-0429-1D7BFB233039}"/>
          </ac:spMkLst>
        </pc:spChg>
        <pc:spChg chg="del mod">
          <ac:chgData name="Georgi Ivanov" userId="7e1b55540891ebeb" providerId="LiveId" clId="{D5C2B1E3-3E17-44F0-8B7A-9E0928E1AB27}" dt="2024-09-26T07:46:13.769" v="2202" actId="478"/>
          <ac:spMkLst>
            <pc:docMk/>
            <pc:sldMk cId="533037609" sldId="306"/>
            <ac:spMk id="24" creationId="{C2FC9430-89FA-B6F5-FF73-09BF4CD95552}"/>
          </ac:spMkLst>
        </pc:spChg>
        <pc:spChg chg="add del mod">
          <ac:chgData name="Georgi Ivanov" userId="7e1b55540891ebeb" providerId="LiveId" clId="{D5C2B1E3-3E17-44F0-8B7A-9E0928E1AB27}" dt="2024-09-26T08:21:52.933" v="2821" actId="1076"/>
          <ac:spMkLst>
            <pc:docMk/>
            <pc:sldMk cId="533037609" sldId="306"/>
            <ac:spMk id="25" creationId="{2E96F421-5C8F-D7AC-CB8E-03B2D301D14F}"/>
          </ac:spMkLst>
        </pc:spChg>
        <pc:spChg chg="add del mod">
          <ac:chgData name="Georgi Ivanov" userId="7e1b55540891ebeb" providerId="LiveId" clId="{D5C2B1E3-3E17-44F0-8B7A-9E0928E1AB27}" dt="2024-09-26T08:21:52.933" v="2821" actId="1076"/>
          <ac:spMkLst>
            <pc:docMk/>
            <pc:sldMk cId="533037609" sldId="306"/>
            <ac:spMk id="26" creationId="{0D0C9F23-91D5-336C-C039-30C996918F95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27" creationId="{7DA5A9A3-FFE3-84E2-F7EE-42D52A4FAAB6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28" creationId="{5D8C8C02-5ACC-6D20-89A1-9A5A36D24717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2" creationId="{987E1DE9-24F9-EF27-5231-3C3956B9EAEC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3" creationId="{8C4573EC-48E0-8C76-A3BB-CE72853B5F40}"/>
          </ac:spMkLst>
        </pc:spChg>
        <pc:spChg chg="del mod">
          <ac:chgData name="Georgi Ivanov" userId="7e1b55540891ebeb" providerId="LiveId" clId="{D5C2B1E3-3E17-44F0-8B7A-9E0928E1AB27}" dt="2024-09-26T07:46:13.769" v="2202" actId="478"/>
          <ac:spMkLst>
            <pc:docMk/>
            <pc:sldMk cId="533037609" sldId="306"/>
            <ac:spMk id="34" creationId="{F24EF291-C501-D101-0029-071EE9043CF4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5" creationId="{0459DF42-8DE1-326C-78AF-9E492D7C1B74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6" creationId="{63F595F7-EEAD-BC3D-F400-D96CB04EA856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7" creationId="{9E2A0C89-3F75-7F3F-C761-1B1D5263F72D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8" creationId="{FB2C7B5F-450F-B1CC-0FE5-AE904E41B2F5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9" creationId="{D8526FAC-DF41-2ACC-1D79-7584A4B10E42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40" creationId="{3B72BD6F-CCA6-3490-BAE2-3A1B7C520EFB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41" creationId="{E6B25B36-58F0-C885-300A-215619A1C1EF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42" creationId="{75727771-5FED-6830-F2C7-7B3305B3BBE3}"/>
          </ac:spMkLst>
        </pc:spChg>
        <pc:spChg chg="add del mod">
          <ac:chgData name="Georgi Ivanov" userId="7e1b55540891ebeb" providerId="LiveId" clId="{D5C2B1E3-3E17-44F0-8B7A-9E0928E1AB27}" dt="2024-09-26T08:01:24.246" v="2469" actId="478"/>
          <ac:spMkLst>
            <pc:docMk/>
            <pc:sldMk cId="533037609" sldId="306"/>
            <ac:spMk id="44" creationId="{34C9120D-7E56-3897-8B71-6267DF50FF1F}"/>
          </ac:spMkLst>
        </pc:spChg>
        <pc:spChg chg="add mod">
          <ac:chgData name="Georgi Ivanov" userId="7e1b55540891ebeb" providerId="LiveId" clId="{D5C2B1E3-3E17-44F0-8B7A-9E0928E1AB27}" dt="2024-09-26T08:21:52.933" v="2821" actId="1076"/>
          <ac:spMkLst>
            <pc:docMk/>
            <pc:sldMk cId="533037609" sldId="306"/>
            <ac:spMk id="45" creationId="{0BB37216-136E-A61C-B974-E5890833BF41}"/>
          </ac:spMkLst>
        </pc:spChg>
        <pc:spChg chg="add mod">
          <ac:chgData name="Georgi Ivanov" userId="7e1b55540891ebeb" providerId="LiveId" clId="{D5C2B1E3-3E17-44F0-8B7A-9E0928E1AB27}" dt="2024-09-26T08:00:50.863" v="2464" actId="14100"/>
          <ac:spMkLst>
            <pc:docMk/>
            <pc:sldMk cId="533037609" sldId="306"/>
            <ac:spMk id="46" creationId="{34DC775C-FE86-F5DC-F3D1-D5E2D253A742}"/>
          </ac:spMkLst>
        </pc:spChg>
        <pc:spChg chg="add mod">
          <ac:chgData name="Georgi Ivanov" userId="7e1b55540891ebeb" providerId="LiveId" clId="{D5C2B1E3-3E17-44F0-8B7A-9E0928E1AB27}" dt="2024-09-26T07:59:59.832" v="2437" actId="1076"/>
          <ac:spMkLst>
            <pc:docMk/>
            <pc:sldMk cId="533037609" sldId="306"/>
            <ac:spMk id="47" creationId="{46136E1C-7F3A-BA3F-FC0C-C01F84635983}"/>
          </ac:spMkLst>
        </pc:spChg>
        <pc:spChg chg="add mod">
          <ac:chgData name="Georgi Ivanov" userId="7e1b55540891ebeb" providerId="LiveId" clId="{D5C2B1E3-3E17-44F0-8B7A-9E0928E1AB27}" dt="2024-09-26T07:59:59.832" v="2437" actId="1076"/>
          <ac:spMkLst>
            <pc:docMk/>
            <pc:sldMk cId="533037609" sldId="306"/>
            <ac:spMk id="48" creationId="{D2651B7D-662C-F793-8FDA-FCDC154CCB52}"/>
          </ac:spMkLst>
        </pc:spChg>
        <pc:spChg chg="add mod">
          <ac:chgData name="Georgi Ivanov" userId="7e1b55540891ebeb" providerId="LiveId" clId="{D5C2B1E3-3E17-44F0-8B7A-9E0928E1AB27}" dt="2024-09-26T07:57:25.667" v="2361"/>
          <ac:spMkLst>
            <pc:docMk/>
            <pc:sldMk cId="533037609" sldId="306"/>
            <ac:spMk id="49" creationId="{47D2F0F3-546F-CC58-F704-C2FAC9CA804F}"/>
          </ac:spMkLst>
        </pc:spChg>
        <pc:spChg chg="add mod">
          <ac:chgData name="Georgi Ivanov" userId="7e1b55540891ebeb" providerId="LiveId" clId="{D5C2B1E3-3E17-44F0-8B7A-9E0928E1AB27}" dt="2024-09-26T08:06:16.519" v="2506" actId="1076"/>
          <ac:spMkLst>
            <pc:docMk/>
            <pc:sldMk cId="533037609" sldId="306"/>
            <ac:spMk id="51" creationId="{FE48ED0D-8310-E6BC-DEF4-708A608CC621}"/>
          </ac:spMkLst>
        </pc:spChg>
        <pc:spChg chg="add mod">
          <ac:chgData name="Georgi Ivanov" userId="7e1b55540891ebeb" providerId="LiveId" clId="{D5C2B1E3-3E17-44F0-8B7A-9E0928E1AB27}" dt="2024-09-26T08:06:16.519" v="2506" actId="1076"/>
          <ac:spMkLst>
            <pc:docMk/>
            <pc:sldMk cId="533037609" sldId="306"/>
            <ac:spMk id="52" creationId="{D2F5A9E8-DD22-7D5B-235A-CA9BAB1514C5}"/>
          </ac:spMkLst>
        </pc:spChg>
        <pc:spChg chg="add mod">
          <ac:chgData name="Georgi Ivanov" userId="7e1b55540891ebeb" providerId="LiveId" clId="{D5C2B1E3-3E17-44F0-8B7A-9E0928E1AB27}" dt="2024-09-26T08:06:16.519" v="2506" actId="1076"/>
          <ac:spMkLst>
            <pc:docMk/>
            <pc:sldMk cId="533037609" sldId="306"/>
            <ac:spMk id="53" creationId="{2E13A1DA-7852-C14C-0C44-FEDC3426BC9B}"/>
          </ac:spMkLst>
        </pc:spChg>
        <pc:spChg chg="add mod">
          <ac:chgData name="Georgi Ivanov" userId="7e1b55540891ebeb" providerId="LiveId" clId="{D5C2B1E3-3E17-44F0-8B7A-9E0928E1AB27}" dt="2024-09-26T08:06:16.519" v="2506" actId="1076"/>
          <ac:spMkLst>
            <pc:docMk/>
            <pc:sldMk cId="533037609" sldId="306"/>
            <ac:spMk id="54" creationId="{3822E61F-8769-DC33-2533-3FC5B62F51F8}"/>
          </ac:spMkLst>
        </pc:spChg>
        <pc:spChg chg="add mod">
          <ac:chgData name="Georgi Ivanov" userId="7e1b55540891ebeb" providerId="LiveId" clId="{D5C2B1E3-3E17-44F0-8B7A-9E0928E1AB27}" dt="2024-09-26T08:02:11.022" v="2484" actId="164"/>
          <ac:spMkLst>
            <pc:docMk/>
            <pc:sldMk cId="533037609" sldId="306"/>
            <ac:spMk id="55" creationId="{48F7B265-C444-CEA4-70C7-617EFAC348DE}"/>
          </ac:spMkLst>
        </pc:spChg>
        <pc:spChg chg="add mod">
          <ac:chgData name="Georgi Ivanov" userId="7e1b55540891ebeb" providerId="LiveId" clId="{D5C2B1E3-3E17-44F0-8B7A-9E0928E1AB27}" dt="2024-09-26T08:02:11.022" v="2484" actId="164"/>
          <ac:spMkLst>
            <pc:docMk/>
            <pc:sldMk cId="533037609" sldId="306"/>
            <ac:spMk id="56" creationId="{B0B1641E-4104-29E0-E3EF-B800B1F33E35}"/>
          </ac:spMkLst>
        </pc:spChg>
        <pc:spChg chg="add mod">
          <ac:chgData name="Georgi Ivanov" userId="7e1b55540891ebeb" providerId="LiveId" clId="{D5C2B1E3-3E17-44F0-8B7A-9E0928E1AB27}" dt="2024-09-26T08:02:11.022" v="2484" actId="164"/>
          <ac:spMkLst>
            <pc:docMk/>
            <pc:sldMk cId="533037609" sldId="306"/>
            <ac:spMk id="57" creationId="{F979CCA2-A25C-CBDB-F0D0-5C203551B054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59" creationId="{0EA7BEBA-4867-8232-BC4C-3BF44F8311D3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60" creationId="{539F17CE-7019-84BD-E183-4AD969F59B5B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61" creationId="{F855838B-E3CE-7BB3-502D-DE764F1866BD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62" creationId="{E757ED09-42E8-0E89-4C5C-10FD70AF058C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63" creationId="{A4D13453-A5D5-1B39-19DC-D0D477FD23EA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48" creationId="{F7F292A1-E8C7-CB32-1F22-0E886DDF5CD5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49" creationId="{FB2B5A4B-3781-DE21-4CD1-ECEA080AB177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51" creationId="{FD9A3745-24D7-1345-57D2-778313F59235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52" creationId="{A11BAF3D-AC8D-8BDA-CD3A-5AB97407F47C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53" creationId="{E60FC808-121D-C97D-A754-0E75EF8CC571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54" creationId="{80AF5BBB-3F42-8A53-68EE-B256655D655B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55" creationId="{A25547B0-686A-956F-3900-14FFE4890ED0}"/>
          </ac:spMkLst>
        </pc:spChg>
        <pc:spChg chg="add mod">
          <ac:chgData name="Georgi Ivanov" userId="7e1b55540891ebeb" providerId="LiveId" clId="{D5C2B1E3-3E17-44F0-8B7A-9E0928E1AB27}" dt="2024-09-26T08:02:11.022" v="2484" actId="164"/>
          <ac:spMkLst>
            <pc:docMk/>
            <pc:sldMk cId="533037609" sldId="306"/>
            <ac:spMk id="2056" creationId="{4E3BEE08-68F9-4676-61D9-F3EBC6C3D05C}"/>
          </ac:spMkLst>
        </pc:spChg>
        <pc:spChg chg="add mod">
          <ac:chgData name="Georgi Ivanov" userId="7e1b55540891ebeb" providerId="LiveId" clId="{D5C2B1E3-3E17-44F0-8B7A-9E0928E1AB27}" dt="2024-09-26T08:09:46.095" v="2576" actId="14100"/>
          <ac:spMkLst>
            <pc:docMk/>
            <pc:sldMk cId="533037609" sldId="306"/>
            <ac:spMk id="2058" creationId="{6DE964B7-68B8-7CA4-846F-7BF2F75CFE7D}"/>
          </ac:spMkLst>
        </pc:spChg>
        <pc:spChg chg="add mod">
          <ac:chgData name="Georgi Ivanov" userId="7e1b55540891ebeb" providerId="LiveId" clId="{D5C2B1E3-3E17-44F0-8B7A-9E0928E1AB27}" dt="2024-09-26T08:09:55.738" v="2577" actId="14100"/>
          <ac:spMkLst>
            <pc:docMk/>
            <pc:sldMk cId="533037609" sldId="306"/>
            <ac:spMk id="2059" creationId="{F801CB75-769C-D145-3164-8BCA11DA197C}"/>
          </ac:spMkLst>
        </pc:spChg>
        <pc:spChg chg="add del mod">
          <ac:chgData name="Georgi Ivanov" userId="7e1b55540891ebeb" providerId="LiveId" clId="{D5C2B1E3-3E17-44F0-8B7A-9E0928E1AB27}" dt="2024-09-26T08:06:48.476" v="2514" actId="478"/>
          <ac:spMkLst>
            <pc:docMk/>
            <pc:sldMk cId="533037609" sldId="306"/>
            <ac:spMk id="2063" creationId="{3714E7F3-608B-C1B4-6F3C-12EDC12D4793}"/>
          </ac:spMkLst>
        </pc:spChg>
        <pc:spChg chg="add del mod">
          <ac:chgData name="Georgi Ivanov" userId="7e1b55540891ebeb" providerId="LiveId" clId="{D5C2B1E3-3E17-44F0-8B7A-9E0928E1AB27}" dt="2024-09-26T08:07:05.488" v="2517" actId="478"/>
          <ac:spMkLst>
            <pc:docMk/>
            <pc:sldMk cId="533037609" sldId="306"/>
            <ac:spMk id="2064" creationId="{4E13946B-9EB5-7F88-ED7D-94D5C6090D95}"/>
          </ac:spMkLst>
        </pc:spChg>
        <pc:spChg chg="add mod">
          <ac:chgData name="Georgi Ivanov" userId="7e1b55540891ebeb" providerId="LiveId" clId="{D5C2B1E3-3E17-44F0-8B7A-9E0928E1AB27}" dt="2024-09-26T08:23:06.304" v="2838" actId="1076"/>
          <ac:spMkLst>
            <pc:docMk/>
            <pc:sldMk cId="533037609" sldId="306"/>
            <ac:spMk id="2065" creationId="{554707AD-820D-59B0-2BE1-998BA127E0F9}"/>
          </ac:spMkLst>
        </pc:spChg>
        <pc:spChg chg="add mod">
          <ac:chgData name="Georgi Ivanov" userId="7e1b55540891ebeb" providerId="LiveId" clId="{D5C2B1E3-3E17-44F0-8B7A-9E0928E1AB27}" dt="2024-09-26T08:21:52.933" v="2821" actId="1076"/>
          <ac:spMkLst>
            <pc:docMk/>
            <pc:sldMk cId="533037609" sldId="306"/>
            <ac:spMk id="2066" creationId="{C47B7FEE-892C-6CDB-2809-01030A8B509C}"/>
          </ac:spMkLst>
        </pc:spChg>
        <pc:spChg chg="add mod">
          <ac:chgData name="Georgi Ivanov" userId="7e1b55540891ebeb" providerId="LiveId" clId="{D5C2B1E3-3E17-44F0-8B7A-9E0928E1AB27}" dt="2024-09-26T08:22:49.072" v="2835" actId="1076"/>
          <ac:spMkLst>
            <pc:docMk/>
            <pc:sldMk cId="533037609" sldId="306"/>
            <ac:spMk id="2067" creationId="{289D8543-FB4B-2075-CC01-036ACCD94B0F}"/>
          </ac:spMkLst>
        </pc:spChg>
        <pc:grpChg chg="add mod">
          <ac:chgData name="Georgi Ivanov" userId="7e1b55540891ebeb" providerId="LiveId" clId="{D5C2B1E3-3E17-44F0-8B7A-9E0928E1AB27}" dt="2024-09-26T08:21:52.933" v="2821" actId="1076"/>
          <ac:grpSpMkLst>
            <pc:docMk/>
            <pc:sldMk cId="533037609" sldId="306"/>
            <ac:grpSpMk id="8" creationId="{7BA130D8-B452-933E-E783-2365E14A4B0B}"/>
          </ac:grpSpMkLst>
        </pc:grpChg>
        <pc:grpChg chg="del">
          <ac:chgData name="Georgi Ivanov" userId="7e1b55540891ebeb" providerId="LiveId" clId="{D5C2B1E3-3E17-44F0-8B7A-9E0928E1AB27}" dt="2024-09-26T07:42:50.019" v="2151" actId="478"/>
          <ac:grpSpMkLst>
            <pc:docMk/>
            <pc:sldMk cId="533037609" sldId="306"/>
            <ac:grpSpMk id="14" creationId="{93FF40BB-26DA-E3DD-6351-24DE54E3BD81}"/>
          </ac:grpSpMkLst>
        </pc:grpChg>
        <pc:grpChg chg="add mod">
          <ac:chgData name="Georgi Ivanov" userId="7e1b55540891ebeb" providerId="LiveId" clId="{D5C2B1E3-3E17-44F0-8B7A-9E0928E1AB27}" dt="2024-09-26T08:01:13.926" v="2466" actId="1076"/>
          <ac:grpSpMkLst>
            <pc:docMk/>
            <pc:sldMk cId="533037609" sldId="306"/>
            <ac:grpSpMk id="23" creationId="{3D052801-36B4-487C-6C20-A2573DF55DCD}"/>
          </ac:grpSpMkLst>
        </pc:grpChg>
        <pc:grpChg chg="del mod">
          <ac:chgData name="Georgi Ivanov" userId="7e1b55540891ebeb" providerId="LiveId" clId="{D5C2B1E3-3E17-44F0-8B7A-9E0928E1AB27}" dt="2024-09-26T07:46:13.769" v="2202" actId="478"/>
          <ac:grpSpMkLst>
            <pc:docMk/>
            <pc:sldMk cId="533037609" sldId="306"/>
            <ac:grpSpMk id="31" creationId="{1FFC8AE4-5582-19C0-DED3-63D8270B8571}"/>
          </ac:grpSpMkLst>
        </pc:grpChg>
        <pc:grpChg chg="add del mod">
          <ac:chgData name="Georgi Ivanov" userId="7e1b55540891ebeb" providerId="LiveId" clId="{D5C2B1E3-3E17-44F0-8B7A-9E0928E1AB27}" dt="2024-09-26T08:01:22.896" v="2468" actId="478"/>
          <ac:grpSpMkLst>
            <pc:docMk/>
            <pc:sldMk cId="533037609" sldId="306"/>
            <ac:grpSpMk id="43" creationId="{D1E559CB-88B6-DA2F-D450-59C8C7718BDB}"/>
          </ac:grpSpMkLst>
        </pc:grpChg>
        <pc:grpChg chg="add mod">
          <ac:chgData name="Georgi Ivanov" userId="7e1b55540891ebeb" providerId="LiveId" clId="{D5C2B1E3-3E17-44F0-8B7A-9E0928E1AB27}" dt="2024-09-26T08:02:11.022" v="2484" actId="164"/>
          <ac:grpSpMkLst>
            <pc:docMk/>
            <pc:sldMk cId="533037609" sldId="306"/>
            <ac:grpSpMk id="58" creationId="{F5162046-BF55-16D1-C778-00B74E8C2AD9}"/>
          </ac:grpSpMkLst>
        </pc:grpChg>
        <pc:grpChg chg="add mod">
          <ac:chgData name="Georgi Ivanov" userId="7e1b55540891ebeb" providerId="LiveId" clId="{D5C2B1E3-3E17-44F0-8B7A-9E0928E1AB27}" dt="2024-09-26T08:02:11.022" v="2484" actId="164"/>
          <ac:grpSpMkLst>
            <pc:docMk/>
            <pc:sldMk cId="533037609" sldId="306"/>
            <ac:grpSpMk id="2057" creationId="{1A6D87DC-BE9E-88EA-423F-218541B67B6C}"/>
          </ac:grpSpMkLst>
        </pc:grpChg>
        <pc:grpChg chg="add mod">
          <ac:chgData name="Georgi Ivanov" userId="7e1b55540891ebeb" providerId="LiveId" clId="{D5C2B1E3-3E17-44F0-8B7A-9E0928E1AB27}" dt="2024-09-26T08:22:49.072" v="2835" actId="1076"/>
          <ac:grpSpMkLst>
            <pc:docMk/>
            <pc:sldMk cId="533037609" sldId="306"/>
            <ac:grpSpMk id="2060" creationId="{27812AF3-C333-6385-08C1-BC8FB09934C8}"/>
          </ac:grpSpMkLst>
        </pc:grpChg>
        <pc:grpChg chg="add mod">
          <ac:chgData name="Georgi Ivanov" userId="7e1b55540891ebeb" providerId="LiveId" clId="{D5C2B1E3-3E17-44F0-8B7A-9E0928E1AB27}" dt="2024-09-26T08:22:21.482" v="2828" actId="164"/>
          <ac:grpSpMkLst>
            <pc:docMk/>
            <pc:sldMk cId="533037609" sldId="306"/>
            <ac:grpSpMk id="2068" creationId="{04C83C1B-FE55-B65E-DB2B-63886AD26734}"/>
          </ac:grpSpMkLst>
        </pc:grpChg>
        <pc:grpChg chg="add mod">
          <ac:chgData name="Georgi Ivanov" userId="7e1b55540891ebeb" providerId="LiveId" clId="{D5C2B1E3-3E17-44F0-8B7A-9E0928E1AB27}" dt="2024-09-26T08:22:49.072" v="2835" actId="1076"/>
          <ac:grpSpMkLst>
            <pc:docMk/>
            <pc:sldMk cId="533037609" sldId="306"/>
            <ac:grpSpMk id="2069" creationId="{056010CF-4FB7-72EA-11D2-141139A127B6}"/>
          </ac:grpSpMkLst>
        </pc:grpChg>
        <pc:picChg chg="add mod">
          <ac:chgData name="Georgi Ivanov" userId="7e1b55540891ebeb" providerId="LiveId" clId="{D5C2B1E3-3E17-44F0-8B7A-9E0928E1AB27}" dt="2024-09-26T08:21:52.933" v="2821" actId="1076"/>
          <ac:picMkLst>
            <pc:docMk/>
            <pc:sldMk cId="533037609" sldId="306"/>
            <ac:picMk id="5" creationId="{9C2B8AE2-14DC-AD23-2919-F06DDE649FE8}"/>
          </ac:picMkLst>
        </pc:picChg>
        <pc:picChg chg="add mod">
          <ac:chgData name="Georgi Ivanov" userId="7e1b55540891ebeb" providerId="LiveId" clId="{D5C2B1E3-3E17-44F0-8B7A-9E0928E1AB27}" dt="2024-09-26T08:21:52.933" v="2821" actId="1076"/>
          <ac:picMkLst>
            <pc:docMk/>
            <pc:sldMk cId="533037609" sldId="306"/>
            <ac:picMk id="6" creationId="{517C7BDF-6FB0-E93F-5851-8D3F4AF1E4E1}"/>
          </ac:picMkLst>
        </pc:picChg>
        <pc:picChg chg="add mod">
          <ac:chgData name="Georgi Ivanov" userId="7e1b55540891ebeb" providerId="LiveId" clId="{D5C2B1E3-3E17-44F0-8B7A-9E0928E1AB27}" dt="2024-09-26T08:21:52.933" v="2821" actId="1076"/>
          <ac:picMkLst>
            <pc:docMk/>
            <pc:sldMk cId="533037609" sldId="306"/>
            <ac:picMk id="7" creationId="{CC88A7EA-D065-DAD9-A4B5-C03B53249F76}"/>
          </ac:picMkLst>
        </pc:picChg>
        <pc:picChg chg="mod">
          <ac:chgData name="Georgi Ivanov" userId="7e1b55540891ebeb" providerId="LiveId" clId="{D5C2B1E3-3E17-44F0-8B7A-9E0928E1AB27}" dt="2024-09-26T08:21:52.933" v="2821" actId="1076"/>
          <ac:picMkLst>
            <pc:docMk/>
            <pc:sldMk cId="533037609" sldId="306"/>
            <ac:picMk id="15" creationId="{FCC4914A-A8C0-9BC5-4089-27074B66A779}"/>
          </ac:picMkLst>
        </pc:picChg>
        <pc:picChg chg="mod">
          <ac:chgData name="Georgi Ivanov" userId="7e1b55540891ebeb" providerId="LiveId" clId="{D5C2B1E3-3E17-44F0-8B7A-9E0928E1AB27}" dt="2024-09-26T07:43:10.817" v="2155" actId="1076"/>
          <ac:picMkLst>
            <pc:docMk/>
            <pc:sldMk cId="533037609" sldId="306"/>
            <ac:picMk id="29" creationId="{589B69B8-B088-4632-7BDA-773B26D65CB9}"/>
          </ac:picMkLst>
        </pc:picChg>
        <pc:picChg chg="mod">
          <ac:chgData name="Georgi Ivanov" userId="7e1b55540891ebeb" providerId="LiveId" clId="{D5C2B1E3-3E17-44F0-8B7A-9E0928E1AB27}" dt="2024-09-26T07:43:10.817" v="2155" actId="1076"/>
          <ac:picMkLst>
            <pc:docMk/>
            <pc:sldMk cId="533037609" sldId="306"/>
            <ac:picMk id="30" creationId="{804CD20B-D34E-E250-FE43-7F9A9816001B}"/>
          </ac:picMkLst>
        </pc:picChg>
        <pc:picChg chg="add mod">
          <ac:chgData name="Georgi Ivanov" userId="7e1b55540891ebeb" providerId="LiveId" clId="{D5C2B1E3-3E17-44F0-8B7A-9E0928E1AB27}" dt="2024-09-26T08:06:16.519" v="2506" actId="1076"/>
          <ac:picMkLst>
            <pc:docMk/>
            <pc:sldMk cId="533037609" sldId="306"/>
            <ac:picMk id="50" creationId="{3D8DB2C7-41BF-F19B-6274-7171139B9E55}"/>
          </ac:picMkLst>
        </pc:picChg>
        <pc:picChg chg="mod">
          <ac:chgData name="Georgi Ivanov" userId="7e1b55540891ebeb" providerId="LiveId" clId="{D5C2B1E3-3E17-44F0-8B7A-9E0928E1AB27}" dt="2024-09-26T07:43:10.817" v="2155" actId="1076"/>
          <ac:picMkLst>
            <pc:docMk/>
            <pc:sldMk cId="533037609" sldId="306"/>
            <ac:picMk id="2050" creationId="{5E82655F-7EC7-C105-EAA2-389E5E131EBC}"/>
          </ac:picMkLst>
        </pc:picChg>
        <pc:picChg chg="mod">
          <ac:chgData name="Georgi Ivanov" userId="7e1b55540891ebeb" providerId="LiveId" clId="{D5C2B1E3-3E17-44F0-8B7A-9E0928E1AB27}" dt="2024-09-26T08:22:49.072" v="2835" actId="1076"/>
          <ac:picMkLst>
            <pc:docMk/>
            <pc:sldMk cId="533037609" sldId="306"/>
            <ac:picMk id="2061" creationId="{0EA46D97-700E-B7C4-AD88-7CD9A56E662F}"/>
          </ac:picMkLst>
        </pc:picChg>
        <pc:picChg chg="mod">
          <ac:chgData name="Georgi Ivanov" userId="7e1b55540891ebeb" providerId="LiveId" clId="{D5C2B1E3-3E17-44F0-8B7A-9E0928E1AB27}" dt="2024-09-26T08:22:49.072" v="2835" actId="1076"/>
          <ac:picMkLst>
            <pc:docMk/>
            <pc:sldMk cId="533037609" sldId="306"/>
            <ac:picMk id="2062" creationId="{45C70D13-C710-067D-62BB-2C1A1DE2D180}"/>
          </ac:picMkLst>
        </pc:picChg>
        <pc:picChg chg="add mod">
          <ac:chgData name="Georgi Ivanov" userId="7e1b55540891ebeb" providerId="LiveId" clId="{D5C2B1E3-3E17-44F0-8B7A-9E0928E1AB27}" dt="2024-09-26T07:58:11.405" v="2391" actId="1076"/>
          <ac:picMkLst>
            <pc:docMk/>
            <pc:sldMk cId="533037609" sldId="306"/>
            <ac:picMk id="16386" creationId="{54088610-96F7-0299-5CFD-CE46B4331C85}"/>
          </ac:picMkLst>
        </pc:picChg>
      </pc:sldChg>
      <pc:sldChg chg="modSp add mod ord">
        <pc:chgData name="Georgi Ivanov" userId="7e1b55540891ebeb" providerId="LiveId" clId="{D5C2B1E3-3E17-44F0-8B7A-9E0928E1AB27}" dt="2024-09-26T08:51:28.608" v="3112"/>
        <pc:sldMkLst>
          <pc:docMk/>
          <pc:sldMk cId="1035094951" sldId="307"/>
        </pc:sldMkLst>
        <pc:spChg chg="mod">
          <ac:chgData name="Georgi Ivanov" userId="7e1b55540891ebeb" providerId="LiveId" clId="{D5C2B1E3-3E17-44F0-8B7A-9E0928E1AB27}" dt="2024-09-25T13:26:31.972" v="1575" actId="20577"/>
          <ac:spMkLst>
            <pc:docMk/>
            <pc:sldMk cId="1035094951" sldId="307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51:28.608" v="3112"/>
          <ac:spMkLst>
            <pc:docMk/>
            <pc:sldMk cId="1035094951" sldId="307"/>
            <ac:spMk id="3" creationId="{E3616238-46A4-D94F-D84B-7DE0BA6D908A}"/>
          </ac:spMkLst>
        </pc:spChg>
      </pc:sldChg>
      <pc:sldChg chg="modSp add del mod">
        <pc:chgData name="Georgi Ivanov" userId="7e1b55540891ebeb" providerId="LiveId" clId="{D5C2B1E3-3E17-44F0-8B7A-9E0928E1AB27}" dt="2024-09-26T07:42:28.358" v="2150" actId="47"/>
        <pc:sldMkLst>
          <pc:docMk/>
          <pc:sldMk cId="2118658209" sldId="308"/>
        </pc:sldMkLst>
        <pc:spChg chg="mod">
          <ac:chgData name="Georgi Ivanov" userId="7e1b55540891ebeb" providerId="LiveId" clId="{D5C2B1E3-3E17-44F0-8B7A-9E0928E1AB27}" dt="2024-09-25T13:27:09.276" v="1577" actId="20577"/>
          <ac:spMkLst>
            <pc:docMk/>
            <pc:sldMk cId="2118658209" sldId="308"/>
            <ac:spMk id="2" creationId="{DD69C8D6-1353-8956-3F07-99E94229D42C}"/>
          </ac:spMkLst>
        </pc:spChg>
      </pc:sldChg>
      <pc:sldChg chg="delSp modSp add mod">
        <pc:chgData name="Georgi Ivanov" userId="7e1b55540891ebeb" providerId="LiveId" clId="{D5C2B1E3-3E17-44F0-8B7A-9E0928E1AB27}" dt="2024-09-26T08:45:03.363" v="2973" actId="20577"/>
        <pc:sldMkLst>
          <pc:docMk/>
          <pc:sldMk cId="783060905" sldId="309"/>
        </pc:sldMkLst>
        <pc:spChg chg="mod">
          <ac:chgData name="Georgi Ivanov" userId="7e1b55540891ebeb" providerId="LiveId" clId="{D5C2B1E3-3E17-44F0-8B7A-9E0928E1AB27}" dt="2024-09-26T08:33:26.700" v="2892" actId="20577"/>
          <ac:spMkLst>
            <pc:docMk/>
            <pc:sldMk cId="783060905" sldId="309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45:03.363" v="2973" actId="20577"/>
          <ac:spMkLst>
            <pc:docMk/>
            <pc:sldMk cId="783060905" sldId="309"/>
            <ac:spMk id="3" creationId="{E3616238-46A4-D94F-D84B-7DE0BA6D908A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10" creationId="{39C09223-D36A-E074-1AA6-0CB54D96C302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11" creationId="{39CEC175-E2F9-A40F-65CB-92B68AEF21E7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16" creationId="{E970DDF6-1DAA-110B-AD62-F1DB1D9FB745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18" creationId="{4804B82E-E9C1-DD3E-AEBA-9A64F4356BD5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19" creationId="{4BBAE00B-5B22-3315-FC13-44FF9745CE42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24" creationId="{C2FC9430-89FA-B6F5-FF73-09BF4CD95552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25" creationId="{2E96F421-5C8F-D7AC-CB8E-03B2D301D14F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26" creationId="{0D0C9F23-91D5-336C-C039-30C996918F95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34" creationId="{F24EF291-C501-D101-0029-071EE9043CF4}"/>
          </ac:spMkLst>
        </pc:spChg>
        <pc:grpChg chg="del">
          <ac:chgData name="Georgi Ivanov" userId="7e1b55540891ebeb" providerId="LiveId" clId="{D5C2B1E3-3E17-44F0-8B7A-9E0928E1AB27}" dt="2024-09-26T08:33:36.292" v="2895" actId="478"/>
          <ac:grpSpMkLst>
            <pc:docMk/>
            <pc:sldMk cId="783060905" sldId="309"/>
            <ac:grpSpMk id="14" creationId="{93FF40BB-26DA-E3DD-6351-24DE54E3BD81}"/>
          </ac:grpSpMkLst>
        </pc:grpChg>
        <pc:grpChg chg="del">
          <ac:chgData name="Georgi Ivanov" userId="7e1b55540891ebeb" providerId="LiveId" clId="{D5C2B1E3-3E17-44F0-8B7A-9E0928E1AB27}" dt="2024-09-26T08:33:36.292" v="2895" actId="478"/>
          <ac:grpSpMkLst>
            <pc:docMk/>
            <pc:sldMk cId="783060905" sldId="309"/>
            <ac:grpSpMk id="31" creationId="{1FFC8AE4-5582-19C0-DED3-63D8270B8571}"/>
          </ac:grpSpMkLst>
        </pc:grpChg>
        <pc:picChg chg="del">
          <ac:chgData name="Georgi Ivanov" userId="7e1b55540891ebeb" providerId="LiveId" clId="{D5C2B1E3-3E17-44F0-8B7A-9E0928E1AB27}" dt="2024-09-26T08:33:36.292" v="2895" actId="478"/>
          <ac:picMkLst>
            <pc:docMk/>
            <pc:sldMk cId="783060905" sldId="309"/>
            <ac:picMk id="15" creationId="{FCC4914A-A8C0-9BC5-4089-27074B66A779}"/>
          </ac:picMkLst>
        </pc:picChg>
      </pc:sldChg>
      <pc:sldChg chg="modSp add mod ord">
        <pc:chgData name="Georgi Ivanov" userId="7e1b55540891ebeb" providerId="LiveId" clId="{D5C2B1E3-3E17-44F0-8B7A-9E0928E1AB27}" dt="2024-09-26T08:45:33.082" v="2983" actId="20577"/>
        <pc:sldMkLst>
          <pc:docMk/>
          <pc:sldMk cId="2771187703" sldId="310"/>
        </pc:sldMkLst>
        <pc:spChg chg="mod">
          <ac:chgData name="Georgi Ivanov" userId="7e1b55540891ebeb" providerId="LiveId" clId="{D5C2B1E3-3E17-44F0-8B7A-9E0928E1AB27}" dt="2024-09-25T13:29:03.790" v="1599" actId="20577"/>
          <ac:spMkLst>
            <pc:docMk/>
            <pc:sldMk cId="2771187703" sldId="310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45:33.082" v="2983" actId="20577"/>
          <ac:spMkLst>
            <pc:docMk/>
            <pc:sldMk cId="2771187703" sldId="310"/>
            <ac:spMk id="3" creationId="{E3616238-46A4-D94F-D84B-7DE0BA6D908A}"/>
          </ac:spMkLst>
        </pc:spChg>
      </pc:sldChg>
      <pc:sldChg chg="modSp add del mod ord">
        <pc:chgData name="Georgi Ivanov" userId="7e1b55540891ebeb" providerId="LiveId" clId="{D5C2B1E3-3E17-44F0-8B7A-9E0928E1AB27}" dt="2024-09-26T08:51:26.113" v="3111" actId="47"/>
        <pc:sldMkLst>
          <pc:docMk/>
          <pc:sldMk cId="1281804577" sldId="311"/>
        </pc:sldMkLst>
        <pc:spChg chg="mod">
          <ac:chgData name="Georgi Ivanov" userId="7e1b55540891ebeb" providerId="LiveId" clId="{D5C2B1E3-3E17-44F0-8B7A-9E0928E1AB27}" dt="2024-09-25T13:29:18.871" v="1606" actId="20577"/>
          <ac:spMkLst>
            <pc:docMk/>
            <pc:sldMk cId="1281804577" sldId="311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51:16.410" v="3110" actId="20577"/>
          <ac:spMkLst>
            <pc:docMk/>
            <pc:sldMk cId="1281804577" sldId="311"/>
            <ac:spMk id="3" creationId="{E3616238-46A4-D94F-D84B-7DE0BA6D908A}"/>
          </ac:spMkLst>
        </pc:spChg>
      </pc:sldChg>
      <pc:sldChg chg="addSp delSp modSp add mod">
        <pc:chgData name="Georgi Ivanov" userId="7e1b55540891ebeb" providerId="LiveId" clId="{D5C2B1E3-3E17-44F0-8B7A-9E0928E1AB27}" dt="2024-09-25T14:10:11.013" v="1812" actId="1076"/>
        <pc:sldMkLst>
          <pc:docMk/>
          <pc:sldMk cId="597583266" sldId="312"/>
        </pc:sldMkLst>
        <pc:spChg chg="mod">
          <ac:chgData name="Georgi Ivanov" userId="7e1b55540891ebeb" providerId="LiveId" clId="{D5C2B1E3-3E17-44F0-8B7A-9E0928E1AB27}" dt="2024-09-25T13:29:47.437" v="1609" actId="27636"/>
          <ac:spMkLst>
            <pc:docMk/>
            <pc:sldMk cId="597583266" sldId="312"/>
            <ac:spMk id="2" creationId="{65A1F34D-EB98-4CAD-A1DE-7AC573B109A0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0" creationId="{9B0C2225-89A1-3942-7063-C4FB1CC7D5C3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1" creationId="{B33BECDC-C83E-9D06-0591-4D47DE44D2AD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2" creationId="{3D427BED-1B37-6503-66FB-1CD1ECAD8F9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7" creationId="{759BAD90-0AEC-2EB4-8211-445E791B881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8" creationId="{1182C66C-412A-5187-0886-C3490AE4F28C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9" creationId="{5698948A-D63C-2BAC-833A-526065E0489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0" creationId="{6FC605CF-929B-7ED9-E0DA-134CA488D3CD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1" creationId="{7E325A94-5D43-BE82-569E-441987A06809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2" creationId="{1007F724-260B-C862-712E-49A0F257650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3" creationId="{4C74892A-B592-1ADD-A885-BDFB95589A00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4" creationId="{0BFE9FC9-D57C-351B-C303-62B8DE7B30A3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5" creationId="{C56E306B-BD63-FC20-049E-C9F554F7573F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7" creationId="{E76460C6-ADCF-F32E-0397-3065E252BE27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0" creationId="{A3D78622-6BE1-5761-480B-75B2C1424631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1" creationId="{3D4B7E35-9741-7678-0E61-48CD73065878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2" creationId="{C0E0E3F1-A724-2A0D-9F6D-4BF495D2EBDD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3" creationId="{49975CB1-6C4C-3EF0-0015-6C0949581A67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4" creationId="{D542734E-49A3-2FAE-8AFC-99136DB70063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5" creationId="{E4142DDC-7D30-8FA5-D8B6-DE23DFA59D34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6" creationId="{EAF11130-CE52-2E8B-6433-B15C60F6D546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1" creationId="{6A90B05D-0528-2F6B-D302-D2FF98E6BF2C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2" creationId="{E825089F-34C3-F123-58F6-DDB798DD8D2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4" creationId="{B23F46BC-6B86-D0ED-F56F-F181C97140E5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5" creationId="{00EB02FA-B9C5-2A27-8895-919DA3E6925F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6" creationId="{3DCA9230-A55C-AC87-873E-A2212159A23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7" creationId="{1AB64E81-FC96-EB97-4CD4-2D28CA5E21F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8" creationId="{239F620A-5F73-D7E7-3603-F607509FC1D7}"/>
          </ac:spMkLst>
        </pc:spChg>
        <pc:spChg chg="mod">
          <ac:chgData name="Georgi Ivanov" userId="7e1b55540891ebeb" providerId="LiveId" clId="{D5C2B1E3-3E17-44F0-8B7A-9E0928E1AB27}" dt="2024-09-25T13:29:55.013" v="1611" actId="6549"/>
          <ac:spMkLst>
            <pc:docMk/>
            <pc:sldMk cId="597583266" sldId="312"/>
            <ac:spMk id="59" creationId="{01381D6B-0A38-4E06-8506-A342F6A017D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60" creationId="{3913D318-7088-8049-D83C-755FFC9B6A35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64" creationId="{ECE458BD-EA47-D0EC-5002-16F5D44C501A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65" creationId="{920B1FBC-AA52-1A72-B7B1-E0318EC19C6C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69" creationId="{A757410D-18BF-EC61-5AA2-95550C08C781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0" creationId="{44FCFE9C-5488-4628-9172-DD024CA2B81A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1" creationId="{CB2AA025-2EFB-917C-02A4-7F6984F605F8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2" creationId="{446B356C-3AED-53F6-0442-949434C9508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3" creationId="{3142DB72-01D1-9315-969B-10BEEC561478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4" creationId="{C208AA75-17DF-4884-08E2-43C922A42812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5" creationId="{EBB87C99-AEED-2525-7A7F-D7ED48FC4802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6" creationId="{51EBCDAD-F759-CFB1-2444-D94FB442C386}"/>
          </ac:spMkLst>
        </pc:spChg>
        <pc:spChg chg="mod">
          <ac:chgData name="Georgi Ivanov" userId="7e1b55540891ebeb" providerId="LiveId" clId="{D5C2B1E3-3E17-44F0-8B7A-9E0928E1AB27}" dt="2024-09-25T13:29:55.768" v="1612" actId="1076"/>
          <ac:spMkLst>
            <pc:docMk/>
            <pc:sldMk cId="597583266" sldId="312"/>
            <ac:spMk id="77" creationId="{6FF0B403-FADC-424A-A227-59D6B88F2456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2" creationId="{59079928-4DE9-9B5B-A774-197F89C5A6A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3" creationId="{372CEE38-B425-4861-D6CB-44E6A2761F2A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4" creationId="{4FE4962B-35CC-B22A-64D3-71B81B57B72A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5" creationId="{611A1CA5-7C4E-F05A-9030-0D9A88D9F31F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6" creationId="{28D56F2D-69C7-8EC9-3D05-CF9932AAAC80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7" creationId="{B7B0BA18-8645-310F-93BF-857932DCCB40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8" creationId="{6C07D9F3-008D-6DE7-7F20-B7F57025E523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9" creationId="{5EC10B6C-5399-FCAF-682C-DD7586694D4D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0" creationId="{D6167F22-5E99-DD6F-180B-CE43DAC2680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1" creationId="{B13134A4-34BA-ED55-91FE-04E793798551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2" creationId="{C07F2A62-5C1F-A9A8-D2F5-07E222AD597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3" creationId="{ED884486-A0AA-CB16-AA25-1A1C239EA25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4" creationId="{503C717E-AD5B-AA0E-95DC-99A8972B180C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5" creationId="{BA949D84-860D-ACDD-CE6E-2C7E7AFCC4E0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6" creationId="{A6ED1CD1-B0BF-780B-CAB4-CFC6FDF4F24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7" creationId="{B8618363-568A-63AB-A554-F231BB03A46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8" creationId="{2E749551-46E9-B4A6-70B9-787924FE1B6D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9" creationId="{2C407AB5-EC5E-CDAE-5EC2-0DE8176D662A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00" creationId="{C73B4997-53E8-8915-A02D-628AFDC00C08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01" creationId="{013750E3-D584-9089-62B9-7A3A50D6FB92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02" creationId="{7509D462-AE38-590F-D3C5-70A8D76B99F5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03" creationId="{08F320B5-3DBD-BB30-2C1B-E4BA51DF8E95}"/>
          </ac:spMkLst>
        </pc:spChg>
        <pc:grpChg chg="add mod topLvl">
          <ac:chgData name="Georgi Ivanov" userId="7e1b55540891ebeb" providerId="LiveId" clId="{D5C2B1E3-3E17-44F0-8B7A-9E0928E1AB27}" dt="2024-09-25T13:32:10.805" v="1634" actId="164"/>
          <ac:grpSpMkLst>
            <pc:docMk/>
            <pc:sldMk cId="597583266" sldId="312"/>
            <ac:grpSpMk id="4" creationId="{9B4A43A2-CB6C-FA35-C5F9-32E2E1610A71}"/>
          </ac:grpSpMkLst>
        </pc:grpChg>
        <pc:grpChg chg="mod">
          <ac:chgData name="Georgi Ivanov" userId="7e1b55540891ebeb" providerId="LiveId" clId="{D5C2B1E3-3E17-44F0-8B7A-9E0928E1AB27}" dt="2024-09-25T13:31:55.288" v="1631" actId="165"/>
          <ac:grpSpMkLst>
            <pc:docMk/>
            <pc:sldMk cId="597583266" sldId="312"/>
            <ac:grpSpMk id="5" creationId="{1781A014-B959-13E0-699E-C0BB54C08E22}"/>
          </ac:grpSpMkLst>
        </pc:grpChg>
        <pc:grpChg chg="mod">
          <ac:chgData name="Georgi Ivanov" userId="7e1b55540891ebeb" providerId="LiveId" clId="{D5C2B1E3-3E17-44F0-8B7A-9E0928E1AB27}" dt="2024-09-25T13:31:55.288" v="1631" actId="165"/>
          <ac:grpSpMkLst>
            <pc:docMk/>
            <pc:sldMk cId="597583266" sldId="312"/>
            <ac:grpSpMk id="8" creationId="{B0E4F883-8759-0DC8-4F5E-9E7A2A3C1927}"/>
          </ac:grpSpMkLst>
        </pc:grpChg>
        <pc:grpChg chg="add mod topLvl">
          <ac:chgData name="Georgi Ivanov" userId="7e1b55540891ebeb" providerId="LiveId" clId="{D5C2B1E3-3E17-44F0-8B7A-9E0928E1AB27}" dt="2024-09-25T13:32:10.805" v="1634" actId="164"/>
          <ac:grpSpMkLst>
            <pc:docMk/>
            <pc:sldMk cId="597583266" sldId="312"/>
            <ac:grpSpMk id="66" creationId="{F0B97F7F-40F1-ACE2-A21B-BB1E8DC4EE31}"/>
          </ac:grpSpMkLst>
        </pc:grpChg>
        <pc:grpChg chg="mod">
          <ac:chgData name="Georgi Ivanov" userId="7e1b55540891ebeb" providerId="LiveId" clId="{D5C2B1E3-3E17-44F0-8B7A-9E0928E1AB27}" dt="2024-09-25T13:31:55.288" v="1631" actId="165"/>
          <ac:grpSpMkLst>
            <pc:docMk/>
            <pc:sldMk cId="597583266" sldId="312"/>
            <ac:grpSpMk id="67" creationId="{C092E02E-AD67-702F-6B80-296DD9EE4991}"/>
          </ac:grpSpMkLst>
        </pc:grpChg>
        <pc:grpChg chg="mod">
          <ac:chgData name="Georgi Ivanov" userId="7e1b55540891ebeb" providerId="LiveId" clId="{D5C2B1E3-3E17-44F0-8B7A-9E0928E1AB27}" dt="2024-09-25T13:31:55.288" v="1631" actId="165"/>
          <ac:grpSpMkLst>
            <pc:docMk/>
            <pc:sldMk cId="597583266" sldId="312"/>
            <ac:grpSpMk id="68" creationId="{60478DCF-8E4B-6A42-54F8-E02944CCAA90}"/>
          </ac:grpSpMkLst>
        </pc:grpChg>
        <pc:grpChg chg="add del mod">
          <ac:chgData name="Georgi Ivanov" userId="7e1b55540891ebeb" providerId="LiveId" clId="{D5C2B1E3-3E17-44F0-8B7A-9E0928E1AB27}" dt="2024-09-25T13:31:55.288" v="1631" actId="165"/>
          <ac:grpSpMkLst>
            <pc:docMk/>
            <pc:sldMk cId="597583266" sldId="312"/>
            <ac:grpSpMk id="104" creationId="{5522CA18-8EF2-9C4C-4276-14C8AD795E24}"/>
          </ac:grpSpMkLst>
        </pc:grpChg>
        <pc:grpChg chg="add mod">
          <ac:chgData name="Georgi Ivanov" userId="7e1b55540891ebeb" providerId="LiveId" clId="{D5C2B1E3-3E17-44F0-8B7A-9E0928E1AB27}" dt="2024-09-25T14:10:11.013" v="1812" actId="1076"/>
          <ac:grpSpMkLst>
            <pc:docMk/>
            <pc:sldMk cId="597583266" sldId="312"/>
            <ac:grpSpMk id="105" creationId="{90607832-4B84-32D5-692D-6AE7BD412C1A}"/>
          </ac:grpSpMkLst>
        </pc:grpChg>
        <pc:picChg chg="del">
          <ac:chgData name="Georgi Ivanov" userId="7e1b55540891ebeb" providerId="LiveId" clId="{D5C2B1E3-3E17-44F0-8B7A-9E0928E1AB27}" dt="2024-09-25T13:30:19.062" v="1613" actId="478"/>
          <ac:picMkLst>
            <pc:docMk/>
            <pc:sldMk cId="597583266" sldId="312"/>
            <ac:picMk id="3" creationId="{DB4F0400-51F6-DEFA-BF32-6C2CE7E690FE}"/>
          </ac:picMkLst>
        </pc:picChg>
        <pc:picChg chg="mod">
          <ac:chgData name="Georgi Ivanov" userId="7e1b55540891ebeb" providerId="LiveId" clId="{D5C2B1E3-3E17-44F0-8B7A-9E0928E1AB27}" dt="2024-09-25T14:10:07.370" v="1810" actId="1076"/>
          <ac:picMkLst>
            <pc:docMk/>
            <pc:sldMk cId="597583266" sldId="312"/>
            <ac:picMk id="53" creationId="{E1377084-21E0-42A7-B144-A69CF5A6D83D}"/>
          </ac:picMkLst>
        </pc:picChg>
      </pc:sldChg>
      <pc:sldChg chg="modSp add mod">
        <pc:chgData name="Georgi Ivanov" userId="7e1b55540891ebeb" providerId="LiveId" clId="{D5C2B1E3-3E17-44F0-8B7A-9E0928E1AB27}" dt="2024-09-25T13:38:07.690" v="1808" actId="6549"/>
        <pc:sldMkLst>
          <pc:docMk/>
          <pc:sldMk cId="2974178012" sldId="313"/>
        </pc:sldMkLst>
        <pc:spChg chg="mod">
          <ac:chgData name="Georgi Ivanov" userId="7e1b55540891ebeb" providerId="LiveId" clId="{D5C2B1E3-3E17-44F0-8B7A-9E0928E1AB27}" dt="2024-09-25T13:34:04.471" v="1656" actId="20577"/>
          <ac:spMkLst>
            <pc:docMk/>
            <pc:sldMk cId="2974178012" sldId="313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5T13:38:07.690" v="1808" actId="6549"/>
          <ac:spMkLst>
            <pc:docMk/>
            <pc:sldMk cId="2974178012" sldId="313"/>
            <ac:spMk id="3" creationId="{E3616238-46A4-D94F-D84B-7DE0BA6D908A}"/>
          </ac:spMkLst>
        </pc:spChg>
      </pc:sldChg>
      <pc:sldChg chg="modSp add mod">
        <pc:chgData name="Georgi Ivanov" userId="7e1b55540891ebeb" providerId="LiveId" clId="{D5C2B1E3-3E17-44F0-8B7A-9E0928E1AB27}" dt="2024-09-25T13:35:35.393" v="1722" actId="20577"/>
        <pc:sldMkLst>
          <pc:docMk/>
          <pc:sldMk cId="4062221807" sldId="314"/>
        </pc:sldMkLst>
        <pc:spChg chg="mod">
          <ac:chgData name="Georgi Ivanov" userId="7e1b55540891ebeb" providerId="LiveId" clId="{D5C2B1E3-3E17-44F0-8B7A-9E0928E1AB27}" dt="2024-09-25T13:35:35.393" v="1722" actId="20577"/>
          <ac:spMkLst>
            <pc:docMk/>
            <pc:sldMk cId="4062221807" sldId="314"/>
            <ac:spMk id="2" creationId="{DD69C8D6-1353-8956-3F07-99E94229D42C}"/>
          </ac:spMkLst>
        </pc:spChg>
      </pc:sldChg>
      <pc:sldChg chg="modSp add mod">
        <pc:chgData name="Georgi Ivanov" userId="7e1b55540891ebeb" providerId="LiveId" clId="{D5C2B1E3-3E17-44F0-8B7A-9E0928E1AB27}" dt="2024-09-25T13:36:39.823" v="1749" actId="20577"/>
        <pc:sldMkLst>
          <pc:docMk/>
          <pc:sldMk cId="2218441124" sldId="315"/>
        </pc:sldMkLst>
        <pc:spChg chg="mod">
          <ac:chgData name="Georgi Ivanov" userId="7e1b55540891ebeb" providerId="LiveId" clId="{D5C2B1E3-3E17-44F0-8B7A-9E0928E1AB27}" dt="2024-09-25T13:36:39.823" v="1749" actId="20577"/>
          <ac:spMkLst>
            <pc:docMk/>
            <pc:sldMk cId="2218441124" sldId="315"/>
            <ac:spMk id="2" creationId="{DD69C8D6-1353-8956-3F07-99E94229D42C}"/>
          </ac:spMkLst>
        </pc:spChg>
      </pc:sldChg>
      <pc:sldChg chg="modSp add mod">
        <pc:chgData name="Georgi Ivanov" userId="7e1b55540891ebeb" providerId="LiveId" clId="{D5C2B1E3-3E17-44F0-8B7A-9E0928E1AB27}" dt="2024-09-25T13:36:56.118" v="1771" actId="20577"/>
        <pc:sldMkLst>
          <pc:docMk/>
          <pc:sldMk cId="1330836399" sldId="316"/>
        </pc:sldMkLst>
        <pc:spChg chg="mod">
          <ac:chgData name="Georgi Ivanov" userId="7e1b55540891ebeb" providerId="LiveId" clId="{D5C2B1E3-3E17-44F0-8B7A-9E0928E1AB27}" dt="2024-09-25T13:36:56.118" v="1771" actId="20577"/>
          <ac:spMkLst>
            <pc:docMk/>
            <pc:sldMk cId="1330836399" sldId="316"/>
            <ac:spMk id="2" creationId="{DD69C8D6-1353-8956-3F07-99E94229D42C}"/>
          </ac:spMkLst>
        </pc:spChg>
      </pc:sldChg>
      <pc:sldChg chg="delSp modSp add mod">
        <pc:chgData name="Georgi Ivanov" userId="7e1b55540891ebeb" providerId="LiveId" clId="{D5C2B1E3-3E17-44F0-8B7A-9E0928E1AB27}" dt="2024-09-26T08:56:51.630" v="3357" actId="20577"/>
        <pc:sldMkLst>
          <pc:docMk/>
          <pc:sldMk cId="3968225869" sldId="317"/>
        </pc:sldMkLst>
        <pc:spChg chg="mod">
          <ac:chgData name="Georgi Ivanov" userId="7e1b55540891ebeb" providerId="LiveId" clId="{D5C2B1E3-3E17-44F0-8B7A-9E0928E1AB27}" dt="2024-09-26T08:55:38.874" v="3311" actId="6549"/>
          <ac:spMkLst>
            <pc:docMk/>
            <pc:sldMk cId="3968225869" sldId="317"/>
            <ac:spMk id="2" creationId="{2A983584-8125-433F-B7FD-A6330AFCE3EC}"/>
          </ac:spMkLst>
        </pc:spChg>
        <pc:spChg chg="mod">
          <ac:chgData name="Georgi Ivanov" userId="7e1b55540891ebeb" providerId="LiveId" clId="{D5C2B1E3-3E17-44F0-8B7A-9E0928E1AB27}" dt="2024-09-26T08:54:22.972" v="3262" actId="20577"/>
          <ac:spMkLst>
            <pc:docMk/>
            <pc:sldMk cId="3968225869" sldId="317"/>
            <ac:spMk id="26" creationId="{36E732C1-2C67-4A83-94BE-81415B7B698F}"/>
          </ac:spMkLst>
        </pc:spChg>
        <pc:spChg chg="mod">
          <ac:chgData name="Georgi Ivanov" userId="7e1b55540891ebeb" providerId="LiveId" clId="{D5C2B1E3-3E17-44F0-8B7A-9E0928E1AB27}" dt="2024-09-26T08:55:54.675" v="3319" actId="20577"/>
          <ac:spMkLst>
            <pc:docMk/>
            <pc:sldMk cId="3968225869" sldId="317"/>
            <ac:spMk id="28" creationId="{04949708-1650-46EE-9E1D-BBA238AAD0CE}"/>
          </ac:spMkLst>
        </pc:spChg>
        <pc:spChg chg="del">
          <ac:chgData name="Georgi Ivanov" userId="7e1b55540891ebeb" providerId="LiveId" clId="{D5C2B1E3-3E17-44F0-8B7A-9E0928E1AB27}" dt="2024-09-26T08:11:39.165" v="2578" actId="478"/>
          <ac:spMkLst>
            <pc:docMk/>
            <pc:sldMk cId="3968225869" sldId="317"/>
            <ac:spMk id="30" creationId="{4A4458B5-D3CA-4017-966B-F7E5139F4FB8}"/>
          </ac:spMkLst>
        </pc:spChg>
        <pc:spChg chg="del mod">
          <ac:chgData name="Georgi Ivanov" userId="7e1b55540891ebeb" providerId="LiveId" clId="{D5C2B1E3-3E17-44F0-8B7A-9E0928E1AB27}" dt="2024-09-26T07:34:50.284" v="1934" actId="478"/>
          <ac:spMkLst>
            <pc:docMk/>
            <pc:sldMk cId="3968225869" sldId="317"/>
            <ac:spMk id="32" creationId="{EA345E1E-C02C-4C7A-9753-D9150403E484}"/>
          </ac:spMkLst>
        </pc:spChg>
        <pc:spChg chg="mod">
          <ac:chgData name="Georgi Ivanov" userId="7e1b55540891ebeb" providerId="LiveId" clId="{D5C2B1E3-3E17-44F0-8B7A-9E0928E1AB27}" dt="2024-09-26T08:54:40.062" v="3309" actId="14100"/>
          <ac:spMkLst>
            <pc:docMk/>
            <pc:sldMk cId="3968225869" sldId="317"/>
            <ac:spMk id="70" creationId="{8CB062A2-EF5E-4F6B-AEED-58A1A5EBE2BE}"/>
          </ac:spMkLst>
        </pc:spChg>
        <pc:spChg chg="mod">
          <ac:chgData name="Georgi Ivanov" userId="7e1b55540891ebeb" providerId="LiveId" clId="{D5C2B1E3-3E17-44F0-8B7A-9E0928E1AB27}" dt="2024-09-26T07:37:45.379" v="2082" actId="20577"/>
          <ac:spMkLst>
            <pc:docMk/>
            <pc:sldMk cId="3968225869" sldId="317"/>
            <ac:spMk id="71" creationId="{47295709-0295-482F-A07E-40FF05549F66}"/>
          </ac:spMkLst>
        </pc:spChg>
        <pc:spChg chg="del mod">
          <ac:chgData name="Georgi Ivanov" userId="7e1b55540891ebeb" providerId="LiveId" clId="{D5C2B1E3-3E17-44F0-8B7A-9E0928E1AB27}" dt="2024-09-26T08:12:09.363" v="2622" actId="478"/>
          <ac:spMkLst>
            <pc:docMk/>
            <pc:sldMk cId="3968225869" sldId="317"/>
            <ac:spMk id="72" creationId="{B2E55744-FFA5-4AAE-8A64-335E3A5D6AF2}"/>
          </ac:spMkLst>
        </pc:spChg>
        <pc:spChg chg="del">
          <ac:chgData name="Georgi Ivanov" userId="7e1b55540891ebeb" providerId="LiveId" clId="{D5C2B1E3-3E17-44F0-8B7A-9E0928E1AB27}" dt="2024-09-26T07:36:43.990" v="2032" actId="478"/>
          <ac:spMkLst>
            <pc:docMk/>
            <pc:sldMk cId="3968225869" sldId="317"/>
            <ac:spMk id="73" creationId="{77ECAF41-A868-4B2A-B240-FD4978E0CACD}"/>
          </ac:spMkLst>
        </pc:spChg>
        <pc:spChg chg="mod">
          <ac:chgData name="Georgi Ivanov" userId="7e1b55540891ebeb" providerId="LiveId" clId="{D5C2B1E3-3E17-44F0-8B7A-9E0928E1AB27}" dt="2024-09-26T08:54:46.769" v="3310" actId="14100"/>
          <ac:spMkLst>
            <pc:docMk/>
            <pc:sldMk cId="3968225869" sldId="317"/>
            <ac:spMk id="74" creationId="{45B8D857-A9C5-4F00-B990-951D6E5A400A}"/>
          </ac:spMkLst>
        </pc:spChg>
        <pc:spChg chg="mod">
          <ac:chgData name="Georgi Ivanov" userId="7e1b55540891ebeb" providerId="LiveId" clId="{D5C2B1E3-3E17-44F0-8B7A-9E0928E1AB27}" dt="2024-09-26T08:56:51.630" v="3357" actId="20577"/>
          <ac:spMkLst>
            <pc:docMk/>
            <pc:sldMk cId="3968225869" sldId="317"/>
            <ac:spMk id="75" creationId="{D5935D29-AC8D-4F44-971A-8BC019DC40F3}"/>
          </ac:spMkLst>
        </pc:spChg>
        <pc:spChg chg="del">
          <ac:chgData name="Georgi Ivanov" userId="7e1b55540891ebeb" providerId="LiveId" clId="{D5C2B1E3-3E17-44F0-8B7A-9E0928E1AB27}" dt="2024-09-26T08:12:11.066" v="2623" actId="478"/>
          <ac:spMkLst>
            <pc:docMk/>
            <pc:sldMk cId="3968225869" sldId="317"/>
            <ac:spMk id="76" creationId="{1A3A4A82-9153-4746-8C2F-41289BDC9087}"/>
          </ac:spMkLst>
        </pc:spChg>
        <pc:spChg chg="del">
          <ac:chgData name="Georgi Ivanov" userId="7e1b55540891ebeb" providerId="LiveId" clId="{D5C2B1E3-3E17-44F0-8B7A-9E0928E1AB27}" dt="2024-09-26T07:37:33.867" v="2079" actId="478"/>
          <ac:spMkLst>
            <pc:docMk/>
            <pc:sldMk cId="3968225869" sldId="317"/>
            <ac:spMk id="77" creationId="{68F0BD25-D912-45A7-B8EF-2A950EEEC428}"/>
          </ac:spMkLst>
        </pc:spChg>
        <pc:spChg chg="mod">
          <ac:chgData name="Georgi Ivanov" userId="7e1b55540891ebeb" providerId="LiveId" clId="{D5C2B1E3-3E17-44F0-8B7A-9E0928E1AB27}" dt="2024-09-26T07:39:01.832" v="2142" actId="6549"/>
          <ac:spMkLst>
            <pc:docMk/>
            <pc:sldMk cId="3968225869" sldId="317"/>
            <ac:spMk id="79" creationId="{A08418F9-6F30-4C82-A2EB-3403D86EA3B9}"/>
          </ac:spMkLst>
        </pc:spChg>
      </pc:sldChg>
      <pc:sldChg chg="addSp delSp modSp add mod">
        <pc:chgData name="Georgi Ivanov" userId="7e1b55540891ebeb" providerId="LiveId" clId="{D5C2B1E3-3E17-44F0-8B7A-9E0928E1AB27}" dt="2024-09-26T08:36:16.941" v="2940" actId="14100"/>
        <pc:sldMkLst>
          <pc:docMk/>
          <pc:sldMk cId="3114253258" sldId="318"/>
        </pc:sldMkLst>
        <pc:spChg chg="mod">
          <ac:chgData name="Georgi Ivanov" userId="7e1b55540891ebeb" providerId="LiveId" clId="{D5C2B1E3-3E17-44F0-8B7A-9E0928E1AB27}" dt="2024-09-26T08:32:57.147" v="2882" actId="20577"/>
          <ac:spMkLst>
            <pc:docMk/>
            <pc:sldMk cId="3114253258" sldId="318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36:16.941" v="2940" actId="14100"/>
          <ac:spMkLst>
            <pc:docMk/>
            <pc:sldMk cId="3114253258" sldId="318"/>
            <ac:spMk id="3" creationId="{E3616238-46A4-D94F-D84B-7DE0BA6D908A}"/>
          </ac:spMkLst>
        </pc:spChg>
        <pc:spChg chg="add mod">
          <ac:chgData name="Georgi Ivanov" userId="7e1b55540891ebeb" providerId="LiveId" clId="{D5C2B1E3-3E17-44F0-8B7A-9E0928E1AB27}" dt="2024-09-26T08:13:02.668" v="2633" actId="20577"/>
          <ac:spMkLst>
            <pc:docMk/>
            <pc:sldMk cId="3114253258" sldId="318"/>
            <ac:spMk id="9" creationId="{0F1492CF-C318-1C39-AB36-E7509D4A782A}"/>
          </ac:spMkLst>
        </pc:spChg>
        <pc:spChg chg="add del mod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10" creationId="{0A3AE838-7EF2-33F3-2F27-CF2D2C4FD56F}"/>
          </ac:spMkLst>
        </pc:spChg>
        <pc:spChg chg="add del mod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11" creationId="{B17E304D-A33A-5140-1CBE-D31917131920}"/>
          </ac:spMkLst>
        </pc:spChg>
        <pc:spChg chg="add del mod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12" creationId="{454771EB-1CAA-63DE-896A-313A66D5F3D6}"/>
          </ac:spMkLst>
        </pc:spChg>
        <pc:spChg chg="add mod">
          <ac:chgData name="Georgi Ivanov" userId="7e1b55540891ebeb" providerId="LiveId" clId="{D5C2B1E3-3E17-44F0-8B7A-9E0928E1AB27}" dt="2024-09-26T08:23:24.581" v="2840"/>
          <ac:spMkLst>
            <pc:docMk/>
            <pc:sldMk cId="3114253258" sldId="318"/>
            <ac:spMk id="14" creationId="{66CC43BA-1AD4-5E41-8824-048E6EB82BF1}"/>
          </ac:spMkLst>
        </pc:spChg>
        <pc:spChg chg="add mod">
          <ac:chgData name="Georgi Ivanov" userId="7e1b55540891ebeb" providerId="LiveId" clId="{D5C2B1E3-3E17-44F0-8B7A-9E0928E1AB27}" dt="2024-09-26T08:26:14.219" v="2861" actId="692"/>
          <ac:spMkLst>
            <pc:docMk/>
            <pc:sldMk cId="3114253258" sldId="318"/>
            <ac:spMk id="16" creationId="{322D5DCA-C5D2-2841-8432-314B07E4377F}"/>
          </ac:spMkLst>
        </pc:spChg>
        <pc:spChg chg="add mod">
          <ac:chgData name="Georgi Ivanov" userId="7e1b55540891ebeb" providerId="LiveId" clId="{D5C2B1E3-3E17-44F0-8B7A-9E0928E1AB27}" dt="2024-09-26T08:23:24.581" v="2840"/>
          <ac:spMkLst>
            <pc:docMk/>
            <pc:sldMk cId="3114253258" sldId="318"/>
            <ac:spMk id="17" creationId="{F613AD76-FF56-9D30-94FB-8009D3A31EB5}"/>
          </ac:spMkLst>
        </pc:spChg>
        <pc:spChg chg="del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18" creationId="{4804B82E-E9C1-DD3E-AEBA-9A64F4356BD5}"/>
          </ac:spMkLst>
        </pc:spChg>
        <pc:spChg chg="del mod">
          <ac:chgData name="Georgi Ivanov" userId="7e1b55540891ebeb" providerId="LiveId" clId="{D5C2B1E3-3E17-44F0-8B7A-9E0928E1AB27}" dt="2024-09-26T08:16:16.199" v="2659" actId="478"/>
          <ac:spMkLst>
            <pc:docMk/>
            <pc:sldMk cId="3114253258" sldId="318"/>
            <ac:spMk id="19" creationId="{4BBAE00B-5B22-3315-FC13-44FF9745CE42}"/>
          </ac:spMkLst>
        </pc:spChg>
        <pc:spChg chg="add mod">
          <ac:chgData name="Georgi Ivanov" userId="7e1b55540891ebeb" providerId="LiveId" clId="{D5C2B1E3-3E17-44F0-8B7A-9E0928E1AB27}" dt="2024-09-26T08:23:24.581" v="2840"/>
          <ac:spMkLst>
            <pc:docMk/>
            <pc:sldMk cId="3114253258" sldId="318"/>
            <ac:spMk id="20" creationId="{FBF59936-22B5-CD21-A46C-D65F1BBFA4C2}"/>
          </ac:spMkLst>
        </pc:spChg>
        <pc:spChg chg="del mod">
          <ac:chgData name="Georgi Ivanov" userId="7e1b55540891ebeb" providerId="LiveId" clId="{D5C2B1E3-3E17-44F0-8B7A-9E0928E1AB27}" dt="2024-09-26T08:16:16.199" v="2659" actId="478"/>
          <ac:spMkLst>
            <pc:docMk/>
            <pc:sldMk cId="3114253258" sldId="318"/>
            <ac:spMk id="25" creationId="{2E96F421-5C8F-D7AC-CB8E-03B2D301D14F}"/>
          </ac:spMkLst>
        </pc:spChg>
        <pc:spChg chg="del mod">
          <ac:chgData name="Georgi Ivanov" userId="7e1b55540891ebeb" providerId="LiveId" clId="{D5C2B1E3-3E17-44F0-8B7A-9E0928E1AB27}" dt="2024-09-26T08:16:16.199" v="2659" actId="478"/>
          <ac:spMkLst>
            <pc:docMk/>
            <pc:sldMk cId="3114253258" sldId="318"/>
            <ac:spMk id="26" creationId="{0D0C9F23-91D5-336C-C039-30C996918F95}"/>
          </ac:spMkLst>
        </pc:spChg>
        <pc:spChg chg="add mod">
          <ac:chgData name="Georgi Ivanov" userId="7e1b55540891ebeb" providerId="LiveId" clId="{D5C2B1E3-3E17-44F0-8B7A-9E0928E1AB27}" dt="2024-09-26T08:25:59.616" v="2851" actId="692"/>
          <ac:spMkLst>
            <pc:docMk/>
            <pc:sldMk cId="3114253258" sldId="318"/>
            <ac:spMk id="27" creationId="{68C8C5F5-3012-6AF6-F015-9FE9157C5661}"/>
          </ac:spMkLst>
        </pc:spChg>
        <pc:spChg chg="add mod">
          <ac:chgData name="Georgi Ivanov" userId="7e1b55540891ebeb" providerId="LiveId" clId="{D5C2B1E3-3E17-44F0-8B7A-9E0928E1AB27}" dt="2024-09-26T08:23:24.581" v="2840"/>
          <ac:spMkLst>
            <pc:docMk/>
            <pc:sldMk cId="3114253258" sldId="318"/>
            <ac:spMk id="28" creationId="{DE1BAC05-780A-F182-180D-2016DD9E0341}"/>
          </ac:spMkLst>
        </pc:spChg>
        <pc:spChg chg="add mod">
          <ac:chgData name="Georgi Ivanov" userId="7e1b55540891ebeb" providerId="LiveId" clId="{D5C2B1E3-3E17-44F0-8B7A-9E0928E1AB27}" dt="2024-09-26T08:26:39.404" v="2871" actId="14100"/>
          <ac:spMkLst>
            <pc:docMk/>
            <pc:sldMk cId="3114253258" sldId="318"/>
            <ac:spMk id="29" creationId="{7842B163-C024-2021-2D8C-46F8569847FD}"/>
          </ac:spMkLst>
        </pc:spChg>
        <pc:spChg chg="mod">
          <ac:chgData name="Georgi Ivanov" userId="7e1b55540891ebeb" providerId="LiveId" clId="{D5C2B1E3-3E17-44F0-8B7A-9E0928E1AB27}" dt="2024-09-26T08:23:24.581" v="2840"/>
          <ac:spMkLst>
            <pc:docMk/>
            <pc:sldMk cId="3114253258" sldId="318"/>
            <ac:spMk id="32" creationId="{908FC8D2-6733-720A-F151-C5C62EEBDE48}"/>
          </ac:spMkLst>
        </pc:spChg>
        <pc:spChg chg="del mod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45" creationId="{0BB37216-136E-A61C-B974-E5890833BF41}"/>
          </ac:spMkLst>
        </pc:spChg>
        <pc:spChg chg="del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2065" creationId="{554707AD-820D-59B0-2BE1-998BA127E0F9}"/>
          </ac:spMkLst>
        </pc:spChg>
        <pc:spChg chg="del mod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2066" creationId="{C47B7FEE-892C-6CDB-2809-01030A8B509C}"/>
          </ac:spMkLst>
        </pc:spChg>
        <pc:spChg chg="del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2067" creationId="{289D8543-FB4B-2075-CC01-036ACCD94B0F}"/>
          </ac:spMkLst>
        </pc:spChg>
        <pc:grpChg chg="del">
          <ac:chgData name="Georgi Ivanov" userId="7e1b55540891ebeb" providerId="LiveId" clId="{D5C2B1E3-3E17-44F0-8B7A-9E0928E1AB27}" dt="2024-09-26T08:23:23.718" v="2839" actId="478"/>
          <ac:grpSpMkLst>
            <pc:docMk/>
            <pc:sldMk cId="3114253258" sldId="318"/>
            <ac:grpSpMk id="8" creationId="{7BA130D8-B452-933E-E783-2365E14A4B0B}"/>
          </ac:grpSpMkLst>
        </pc:grpChg>
        <pc:grpChg chg="add mod">
          <ac:chgData name="Georgi Ivanov" userId="7e1b55540891ebeb" providerId="LiveId" clId="{D5C2B1E3-3E17-44F0-8B7A-9E0928E1AB27}" dt="2024-09-26T08:26:31.052" v="2868" actId="1076"/>
          <ac:grpSpMkLst>
            <pc:docMk/>
            <pc:sldMk cId="3114253258" sldId="318"/>
            <ac:grpSpMk id="21" creationId="{7C44D93E-75BD-25D4-DC4A-3F4D2F641C07}"/>
          </ac:grpSpMkLst>
        </pc:grpChg>
        <pc:grpChg chg="add mod">
          <ac:chgData name="Georgi Ivanov" userId="7e1b55540891ebeb" providerId="LiveId" clId="{D5C2B1E3-3E17-44F0-8B7A-9E0928E1AB27}" dt="2024-09-26T08:23:24.581" v="2840"/>
          <ac:grpSpMkLst>
            <pc:docMk/>
            <pc:sldMk cId="3114253258" sldId="318"/>
            <ac:grpSpMk id="30" creationId="{FDFE13F8-56BF-76AB-11D3-9BEBCBAE163E}"/>
          </ac:grpSpMkLst>
        </pc:grpChg>
        <pc:grpChg chg="mod">
          <ac:chgData name="Georgi Ivanov" userId="7e1b55540891ebeb" providerId="LiveId" clId="{D5C2B1E3-3E17-44F0-8B7A-9E0928E1AB27}" dt="2024-09-26T08:23:24.581" v="2840"/>
          <ac:grpSpMkLst>
            <pc:docMk/>
            <pc:sldMk cId="3114253258" sldId="318"/>
            <ac:grpSpMk id="31" creationId="{ED45C24A-4E78-B3B4-1D3A-ECC8C89738DE}"/>
          </ac:grpSpMkLst>
        </pc:grpChg>
        <pc:grpChg chg="del">
          <ac:chgData name="Georgi Ivanov" userId="7e1b55540891ebeb" providerId="LiveId" clId="{D5C2B1E3-3E17-44F0-8B7A-9E0928E1AB27}" dt="2024-09-26T08:23:23.718" v="2839" actId="478"/>
          <ac:grpSpMkLst>
            <pc:docMk/>
            <pc:sldMk cId="3114253258" sldId="318"/>
            <ac:grpSpMk id="2060" creationId="{27812AF3-C333-6385-08C1-BC8FB09934C8}"/>
          </ac:grpSpMkLst>
        </pc:grpChg>
        <pc:picChg chg="add mod">
          <ac:chgData name="Georgi Ivanov" userId="7e1b55540891ebeb" providerId="LiveId" clId="{D5C2B1E3-3E17-44F0-8B7A-9E0928E1AB27}" dt="2024-09-26T08:23:24.581" v="2840"/>
          <ac:picMkLst>
            <pc:docMk/>
            <pc:sldMk cId="3114253258" sldId="318"/>
            <ac:picMk id="13" creationId="{23621939-9A58-F6EF-A9AD-C5EBF9FB6CF1}"/>
          </ac:picMkLst>
        </pc:picChg>
        <pc:picChg chg="del">
          <ac:chgData name="Georgi Ivanov" userId="7e1b55540891ebeb" providerId="LiveId" clId="{D5C2B1E3-3E17-44F0-8B7A-9E0928E1AB27}" dt="2024-09-26T08:23:23.718" v="2839" actId="478"/>
          <ac:picMkLst>
            <pc:docMk/>
            <pc:sldMk cId="3114253258" sldId="318"/>
            <ac:picMk id="15" creationId="{FCC4914A-A8C0-9BC5-4089-27074B66A779}"/>
          </ac:picMkLst>
        </pc:picChg>
        <pc:picChg chg="mod">
          <ac:chgData name="Georgi Ivanov" userId="7e1b55540891ebeb" providerId="LiveId" clId="{D5C2B1E3-3E17-44F0-8B7A-9E0928E1AB27}" dt="2024-09-26T08:26:31.052" v="2868" actId="1076"/>
          <ac:picMkLst>
            <pc:docMk/>
            <pc:sldMk cId="3114253258" sldId="318"/>
            <ac:picMk id="22" creationId="{1276303E-E993-7E2D-B7E2-691DFBAB393C}"/>
          </ac:picMkLst>
        </pc:picChg>
        <pc:picChg chg="mod">
          <ac:chgData name="Georgi Ivanov" userId="7e1b55540891ebeb" providerId="LiveId" clId="{D5C2B1E3-3E17-44F0-8B7A-9E0928E1AB27}" dt="2024-09-26T08:26:31.052" v="2868" actId="1076"/>
          <ac:picMkLst>
            <pc:docMk/>
            <pc:sldMk cId="3114253258" sldId="318"/>
            <ac:picMk id="23" creationId="{F3D224C1-68BD-D277-D914-D2ABE3569211}"/>
          </ac:picMkLst>
        </pc:picChg>
        <pc:picChg chg="mod">
          <ac:chgData name="Georgi Ivanov" userId="7e1b55540891ebeb" providerId="LiveId" clId="{D5C2B1E3-3E17-44F0-8B7A-9E0928E1AB27}" dt="2024-09-26T08:26:31.052" v="2868" actId="1076"/>
          <ac:picMkLst>
            <pc:docMk/>
            <pc:sldMk cId="3114253258" sldId="318"/>
            <ac:picMk id="24" creationId="{07E65C55-E683-E636-A545-7CA58D5E0907}"/>
          </ac:picMkLst>
        </pc:picChg>
        <pc:picChg chg="mod">
          <ac:chgData name="Georgi Ivanov" userId="7e1b55540891ebeb" providerId="LiveId" clId="{D5C2B1E3-3E17-44F0-8B7A-9E0928E1AB27}" dt="2024-09-26T08:23:24.581" v="2840"/>
          <ac:picMkLst>
            <pc:docMk/>
            <pc:sldMk cId="3114253258" sldId="318"/>
            <ac:picMk id="33" creationId="{F5C73E76-097F-93FD-BEE4-309FC39B7BFD}"/>
          </ac:picMkLst>
        </pc:picChg>
        <pc:picChg chg="mod">
          <ac:chgData name="Georgi Ivanov" userId="7e1b55540891ebeb" providerId="LiveId" clId="{D5C2B1E3-3E17-44F0-8B7A-9E0928E1AB27}" dt="2024-09-26T08:23:24.581" v="2840"/>
          <ac:picMkLst>
            <pc:docMk/>
            <pc:sldMk cId="3114253258" sldId="318"/>
            <ac:picMk id="34" creationId="{C2F45153-0012-AAB1-CCDC-5D072D119719}"/>
          </ac:picMkLst>
        </pc:picChg>
        <pc:picChg chg="add">
          <ac:chgData name="Georgi Ivanov" userId="7e1b55540891ebeb" providerId="LiveId" clId="{D5C2B1E3-3E17-44F0-8B7A-9E0928E1AB27}" dt="2024-09-26T08:24:51.433" v="2841"/>
          <ac:picMkLst>
            <pc:docMk/>
            <pc:sldMk cId="3114253258" sldId="318"/>
            <ac:picMk id="18434" creationId="{8B62D5AD-1A4A-506C-5044-C2E623D2D6DD}"/>
          </ac:picMkLst>
        </pc:picChg>
        <pc:picChg chg="add mod">
          <ac:chgData name="Georgi Ivanov" userId="7e1b55540891ebeb" providerId="LiveId" clId="{D5C2B1E3-3E17-44F0-8B7A-9E0928E1AB27}" dt="2024-09-26T08:25:38.886" v="2849" actId="1076"/>
          <ac:picMkLst>
            <pc:docMk/>
            <pc:sldMk cId="3114253258" sldId="318"/>
            <ac:picMk id="18436" creationId="{E3727051-12D4-B553-BCB1-1209A2009600}"/>
          </ac:picMkLst>
        </pc:picChg>
      </pc:sldChg>
      <pc:sldChg chg="modSp add mod">
        <pc:chgData name="Georgi Ivanov" userId="7e1b55540891ebeb" providerId="LiveId" clId="{D5C2B1E3-3E17-44F0-8B7A-9E0928E1AB27}" dt="2024-09-26T08:47:23.398" v="3007"/>
        <pc:sldMkLst>
          <pc:docMk/>
          <pc:sldMk cId="1541607694" sldId="319"/>
        </pc:sldMkLst>
        <pc:spChg chg="mod">
          <ac:chgData name="Georgi Ivanov" userId="7e1b55540891ebeb" providerId="LiveId" clId="{D5C2B1E3-3E17-44F0-8B7A-9E0928E1AB27}" dt="2024-09-26T08:47:23.398" v="3007"/>
          <ac:spMkLst>
            <pc:docMk/>
            <pc:sldMk cId="1541607694" sldId="319"/>
            <ac:spMk id="3" creationId="{E3616238-46A4-D94F-D84B-7DE0BA6D908A}"/>
          </ac:spMkLst>
        </pc:spChg>
      </pc:sldChg>
      <pc:sldChg chg="modSp add mod">
        <pc:chgData name="Georgi Ivanov" userId="7e1b55540891ebeb" providerId="LiveId" clId="{D5C2B1E3-3E17-44F0-8B7A-9E0928E1AB27}" dt="2024-09-26T08:49:46.106" v="3018"/>
        <pc:sldMkLst>
          <pc:docMk/>
          <pc:sldMk cId="3041689042" sldId="320"/>
        </pc:sldMkLst>
        <pc:spChg chg="mod">
          <ac:chgData name="Georgi Ivanov" userId="7e1b55540891ebeb" providerId="LiveId" clId="{D5C2B1E3-3E17-44F0-8B7A-9E0928E1AB27}" dt="2024-09-26T08:48:10.959" v="3014" actId="20577"/>
          <ac:spMkLst>
            <pc:docMk/>
            <pc:sldMk cId="3041689042" sldId="320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49:46.106" v="3018"/>
          <ac:spMkLst>
            <pc:docMk/>
            <pc:sldMk cId="3041689042" sldId="320"/>
            <ac:spMk id="3" creationId="{E3616238-46A4-D94F-D84B-7DE0BA6D908A}"/>
          </ac:spMkLst>
        </pc:spChg>
      </pc:sldChg>
      <pc:sldChg chg="delSp modSp add mod ord">
        <pc:chgData name="Georgi Ivanov" userId="7e1b55540891ebeb" providerId="LiveId" clId="{D5C2B1E3-3E17-44F0-8B7A-9E0928E1AB27}" dt="2024-09-26T08:59:20.980" v="3424" actId="6549"/>
        <pc:sldMkLst>
          <pc:docMk/>
          <pc:sldMk cId="2881962423" sldId="321"/>
        </pc:sldMkLst>
        <pc:spChg chg="mod">
          <ac:chgData name="Georgi Ivanov" userId="7e1b55540891ebeb" providerId="LiveId" clId="{D5C2B1E3-3E17-44F0-8B7A-9E0928E1AB27}" dt="2024-09-26T08:53:01.369" v="3259" actId="20577"/>
          <ac:spMkLst>
            <pc:docMk/>
            <pc:sldMk cId="2881962423" sldId="321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59:20.980" v="3424" actId="6549"/>
          <ac:spMkLst>
            <pc:docMk/>
            <pc:sldMk cId="2881962423" sldId="321"/>
            <ac:spMk id="3" creationId="{E3616238-46A4-D94F-D84B-7DE0BA6D908A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4" creationId="{E3D17250-7924-92B4-E7B0-8FEB3F9B0CAF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10" creationId="{39C09223-D36A-E074-1AA6-0CB54D96C302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11" creationId="{39CEC175-E2F9-A40F-65CB-92B68AEF21E7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16" creationId="{E970DDF6-1DAA-110B-AD62-F1DB1D9FB745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18" creationId="{4804B82E-E9C1-DD3E-AEBA-9A64F4356BD5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19" creationId="{4BBAE00B-5B22-3315-FC13-44FF9745CE42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24" creationId="{C2FC9430-89FA-B6F5-FF73-09BF4CD95552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25" creationId="{2E96F421-5C8F-D7AC-CB8E-03B2D301D14F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26" creationId="{0D0C9F23-91D5-336C-C039-30C996918F95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34" creationId="{F24EF291-C501-D101-0029-071EE9043CF4}"/>
          </ac:spMkLst>
        </pc:spChg>
        <pc:grpChg chg="del">
          <ac:chgData name="Georgi Ivanov" userId="7e1b55540891ebeb" providerId="LiveId" clId="{D5C2B1E3-3E17-44F0-8B7A-9E0928E1AB27}" dt="2024-09-26T08:53:10.583" v="3260" actId="478"/>
          <ac:grpSpMkLst>
            <pc:docMk/>
            <pc:sldMk cId="2881962423" sldId="321"/>
            <ac:grpSpMk id="14" creationId="{93FF40BB-26DA-E3DD-6351-24DE54E3BD81}"/>
          </ac:grpSpMkLst>
        </pc:grpChg>
        <pc:grpChg chg="del">
          <ac:chgData name="Georgi Ivanov" userId="7e1b55540891ebeb" providerId="LiveId" clId="{D5C2B1E3-3E17-44F0-8B7A-9E0928E1AB27}" dt="2024-09-26T08:53:10.583" v="3260" actId="478"/>
          <ac:grpSpMkLst>
            <pc:docMk/>
            <pc:sldMk cId="2881962423" sldId="321"/>
            <ac:grpSpMk id="31" creationId="{1FFC8AE4-5582-19C0-DED3-63D8270B8571}"/>
          </ac:grpSpMkLst>
        </pc:grpChg>
        <pc:picChg chg="del">
          <ac:chgData name="Georgi Ivanov" userId="7e1b55540891ebeb" providerId="LiveId" clId="{D5C2B1E3-3E17-44F0-8B7A-9E0928E1AB27}" dt="2024-09-26T08:53:10.583" v="3260" actId="478"/>
          <ac:picMkLst>
            <pc:docMk/>
            <pc:sldMk cId="2881962423" sldId="321"/>
            <ac:picMk id="15" creationId="{FCC4914A-A8C0-9BC5-4089-27074B66A779}"/>
          </ac:picMkLst>
        </pc:picChg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5.png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5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C9B3D44-A0CC-4574-B33D-B138ED440CDA}" type="doc">
      <dgm:prSet loTypeId="urn:microsoft.com/office/officeart/2005/8/layout/hList7" loCatId="process" qsTypeId="urn:microsoft.com/office/officeart/2005/8/quickstyle/simple2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7988F297-D15C-4C11-ADEB-B542C87EF07D}">
      <dgm:prSet phldrT="[Text]" custT="1"/>
      <dgm:spPr/>
      <dgm:t>
        <a:bodyPr/>
        <a:lstStyle/>
        <a:p>
          <a:r>
            <a:rPr lang="en-US" sz="2400" b="1" dirty="0">
              <a:latin typeface="Segoe UI" panose="020B0502040204020203" pitchFamily="34" charset="0"/>
              <a:cs typeface="Segoe UI" panose="020B0502040204020203" pitchFamily="34" charset="0"/>
            </a:rPr>
            <a:t>Infrastructure management</a:t>
          </a:r>
        </a:p>
      </dgm:t>
    </dgm:pt>
    <dgm:pt modelId="{FC68F2A7-E56B-4E99-AC26-B70C2BBEA1CB}" type="parTrans" cxnId="{DF0FA47E-C1A3-43B2-9450-71FD2FB5CB2F}">
      <dgm:prSet/>
      <dgm:spPr/>
      <dgm:t>
        <a:bodyPr/>
        <a:lstStyle/>
        <a:p>
          <a:endParaRPr lang="en-US"/>
        </a:p>
      </dgm:t>
    </dgm:pt>
    <dgm:pt modelId="{C77D1640-694D-43CF-8054-B2BA6DC55A69}" type="sibTrans" cxnId="{DF0FA47E-C1A3-43B2-9450-71FD2FB5CB2F}">
      <dgm:prSet/>
      <dgm:spPr/>
      <dgm:t>
        <a:bodyPr/>
        <a:lstStyle/>
        <a:p>
          <a:endParaRPr lang="en-US"/>
        </a:p>
      </dgm:t>
    </dgm:pt>
    <dgm:pt modelId="{402932E3-BE5D-402A-9C87-4600A418A01F}">
      <dgm:prSet phldrT="[Text]" custT="1"/>
      <dgm:spPr/>
      <dgm:t>
        <a:bodyPr/>
        <a:lstStyle/>
        <a:p>
          <a:r>
            <a:rPr lang="en-US" sz="2000" dirty="0" err="1">
              <a:latin typeface="Segoe UI" panose="020B0502040204020203" pitchFamily="34" charset="0"/>
              <a:cs typeface="Segoe UI" panose="020B0502040204020203" pitchFamily="34" charset="0"/>
            </a:rPr>
            <a:t>GitOps</a:t>
          </a:r>
          <a:endParaRPr lang="en-US" sz="2000" dirty="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C68C3631-174C-426D-81AB-1895C36C6B6E}" type="parTrans" cxnId="{F18B2708-C8DE-48BD-AB5C-4B535DD9B3F1}">
      <dgm:prSet/>
      <dgm:spPr/>
      <dgm:t>
        <a:bodyPr/>
        <a:lstStyle/>
        <a:p>
          <a:endParaRPr lang="en-US"/>
        </a:p>
      </dgm:t>
    </dgm:pt>
    <dgm:pt modelId="{B2632713-6510-4C01-8E47-FA1AC102F432}" type="sibTrans" cxnId="{F18B2708-C8DE-48BD-AB5C-4B535DD9B3F1}">
      <dgm:prSet/>
      <dgm:spPr/>
      <dgm:t>
        <a:bodyPr/>
        <a:lstStyle/>
        <a:p>
          <a:endParaRPr lang="en-US"/>
        </a:p>
      </dgm:t>
    </dgm:pt>
    <dgm:pt modelId="{7C965FE3-DD92-4091-88FE-D6D2EAF30BC1}">
      <dgm:prSet phldrT="[Text]" custT="1"/>
      <dgm:spPr/>
      <dgm:t>
        <a:bodyPr/>
        <a:lstStyle/>
        <a:p>
          <a:r>
            <a:rPr lang="en-US" sz="2400" b="1" dirty="0">
              <a:latin typeface="Segoe UI" panose="020B0502040204020203" pitchFamily="34" charset="0"/>
              <a:cs typeface="Segoe UI" panose="020B0502040204020203" pitchFamily="34" charset="0"/>
            </a:rPr>
            <a:t>Azure Template Specs</a:t>
          </a:r>
        </a:p>
      </dgm:t>
    </dgm:pt>
    <dgm:pt modelId="{78501AFD-3110-4721-B8BC-883AB3F5ACC3}" type="parTrans" cxnId="{898AC3E4-0D9B-4921-B4E8-2CAB0598ECFA}">
      <dgm:prSet/>
      <dgm:spPr/>
      <dgm:t>
        <a:bodyPr/>
        <a:lstStyle/>
        <a:p>
          <a:endParaRPr lang="en-US"/>
        </a:p>
      </dgm:t>
    </dgm:pt>
    <dgm:pt modelId="{5CC58E07-8929-4D5D-9D46-9F35DA3F0B95}" type="sibTrans" cxnId="{898AC3E4-0D9B-4921-B4E8-2CAB0598ECFA}">
      <dgm:prSet/>
      <dgm:spPr/>
      <dgm:t>
        <a:bodyPr/>
        <a:lstStyle/>
        <a:p>
          <a:endParaRPr lang="en-US"/>
        </a:p>
      </dgm:t>
    </dgm:pt>
    <dgm:pt modelId="{17E1B48F-FFE9-4E3C-B286-2C8D78B67095}">
      <dgm:prSet phldrT="[Text]" custT="1"/>
      <dgm:spPr/>
      <dgm:t>
        <a:bodyPr/>
        <a:lstStyle/>
        <a:p>
          <a:r>
            <a:rPr lang="en-US" sz="2000" dirty="0">
              <a:latin typeface="Segoe UI" panose="020B0502040204020203" pitchFamily="34" charset="0"/>
              <a:cs typeface="Segoe UI" panose="020B0502040204020203" pitchFamily="34" charset="0"/>
            </a:rPr>
            <a:t>Catalog</a:t>
          </a:r>
        </a:p>
      </dgm:t>
    </dgm:pt>
    <dgm:pt modelId="{000D60EA-F685-4B17-BE16-48AD51E8CF55}" type="parTrans" cxnId="{AE389B6F-A8E6-4DF8-AD1E-6DDD640C2836}">
      <dgm:prSet/>
      <dgm:spPr/>
      <dgm:t>
        <a:bodyPr/>
        <a:lstStyle/>
        <a:p>
          <a:endParaRPr lang="en-US"/>
        </a:p>
      </dgm:t>
    </dgm:pt>
    <dgm:pt modelId="{9B63D1FF-475E-4CA7-9FB6-5F7F8D9AE45C}" type="sibTrans" cxnId="{AE389B6F-A8E6-4DF8-AD1E-6DDD640C2836}">
      <dgm:prSet/>
      <dgm:spPr/>
      <dgm:t>
        <a:bodyPr/>
        <a:lstStyle/>
        <a:p>
          <a:endParaRPr lang="en-US"/>
        </a:p>
      </dgm:t>
    </dgm:pt>
    <dgm:pt modelId="{ABA0481D-5353-4284-8F70-8217ADE56E28}">
      <dgm:prSet phldrT="[Text]" custT="1"/>
      <dgm:spPr/>
      <dgm:t>
        <a:bodyPr/>
        <a:lstStyle/>
        <a:p>
          <a:r>
            <a:rPr lang="en-US" sz="2000" dirty="0">
              <a:latin typeface="Segoe UI" panose="020B0502040204020203" pitchFamily="34" charset="0"/>
              <a:cs typeface="Segoe UI" panose="020B0502040204020203" pitchFamily="34" charset="0"/>
            </a:rPr>
            <a:t>Template</a:t>
          </a:r>
        </a:p>
      </dgm:t>
    </dgm:pt>
    <dgm:pt modelId="{9957A3A7-ABC0-4037-B6E3-1A8507F4FB17}" type="parTrans" cxnId="{04C57394-FF34-4446-8E22-1E82B07BCC38}">
      <dgm:prSet/>
      <dgm:spPr/>
      <dgm:t>
        <a:bodyPr/>
        <a:lstStyle/>
        <a:p>
          <a:endParaRPr lang="en-US"/>
        </a:p>
      </dgm:t>
    </dgm:pt>
    <dgm:pt modelId="{7ADBB19E-27FE-4532-9932-0EBBA36D98F1}" type="sibTrans" cxnId="{04C57394-FF34-4446-8E22-1E82B07BCC38}">
      <dgm:prSet/>
      <dgm:spPr/>
      <dgm:t>
        <a:bodyPr/>
        <a:lstStyle/>
        <a:p>
          <a:endParaRPr lang="en-US"/>
        </a:p>
      </dgm:t>
    </dgm:pt>
    <dgm:pt modelId="{6791FD48-50DD-45B6-A4E2-BBBC2B2FBE33}">
      <dgm:prSet phldrT="[Text]" custT="1"/>
      <dgm:spPr/>
      <dgm:t>
        <a:bodyPr/>
        <a:lstStyle/>
        <a:p>
          <a:r>
            <a:rPr lang="en-US" sz="2000" dirty="0">
              <a:latin typeface="Segoe UI" panose="020B0502040204020203" pitchFamily="34" charset="0"/>
              <a:cs typeface="Segoe UI" panose="020B0502040204020203" pitchFamily="34" charset="0"/>
            </a:rPr>
            <a:t>User Interface</a:t>
          </a:r>
        </a:p>
      </dgm:t>
    </dgm:pt>
    <dgm:pt modelId="{F30FD5D5-DE9D-4E1D-8C73-DBC53B82D45B}" type="parTrans" cxnId="{D379AA4E-26AF-4F14-97D7-06992A590DD6}">
      <dgm:prSet/>
      <dgm:spPr/>
      <dgm:t>
        <a:bodyPr/>
        <a:lstStyle/>
        <a:p>
          <a:endParaRPr lang="en-US"/>
        </a:p>
      </dgm:t>
    </dgm:pt>
    <dgm:pt modelId="{4D233824-83F5-4FD9-875C-10D6CC7AD96B}" type="sibTrans" cxnId="{D379AA4E-26AF-4F14-97D7-06992A590DD6}">
      <dgm:prSet/>
      <dgm:spPr/>
      <dgm:t>
        <a:bodyPr/>
        <a:lstStyle/>
        <a:p>
          <a:endParaRPr lang="en-US"/>
        </a:p>
      </dgm:t>
    </dgm:pt>
    <dgm:pt modelId="{58AD87BF-8ED0-4BD5-9EEA-71BAD1A61B00}">
      <dgm:prSet phldrT="[Text]" custT="1"/>
      <dgm:spPr/>
      <dgm:t>
        <a:bodyPr/>
        <a:lstStyle/>
        <a:p>
          <a:r>
            <a:rPr lang="en-US" sz="2400" b="1" dirty="0">
              <a:latin typeface="Segoe UI" panose="020B0502040204020203" pitchFamily="34" charset="0"/>
              <a:cs typeface="Segoe UI" panose="020B0502040204020203" pitchFamily="34" charset="0"/>
            </a:rPr>
            <a:t>Conclusions</a:t>
          </a:r>
        </a:p>
      </dgm:t>
    </dgm:pt>
    <dgm:pt modelId="{A5AADC75-079A-48AE-9D57-D94FD8B1B710}" type="parTrans" cxnId="{FE6AD31B-B49D-4B57-AB9F-78B91F66B1E8}">
      <dgm:prSet/>
      <dgm:spPr/>
      <dgm:t>
        <a:bodyPr/>
        <a:lstStyle/>
        <a:p>
          <a:endParaRPr lang="en-US"/>
        </a:p>
      </dgm:t>
    </dgm:pt>
    <dgm:pt modelId="{E70B6A76-C687-42E0-8102-5945F60DE0DC}" type="sibTrans" cxnId="{FE6AD31B-B49D-4B57-AB9F-78B91F66B1E8}">
      <dgm:prSet/>
      <dgm:spPr/>
      <dgm:t>
        <a:bodyPr/>
        <a:lstStyle/>
        <a:p>
          <a:endParaRPr lang="en-US"/>
        </a:p>
      </dgm:t>
    </dgm:pt>
    <dgm:pt modelId="{56ABC171-25C6-4FCD-87C8-109D6312E6DA}">
      <dgm:prSet phldrT="[Text]" custT="1"/>
      <dgm:spPr/>
      <dgm:t>
        <a:bodyPr/>
        <a:lstStyle/>
        <a:p>
          <a:r>
            <a:rPr lang="en-US" sz="2000" dirty="0" err="1">
              <a:latin typeface="Segoe UI" panose="020B0502040204020203" pitchFamily="34" charset="0"/>
              <a:cs typeface="Segoe UI" panose="020B0502040204020203" pitchFamily="34" charset="0"/>
            </a:rPr>
            <a:t>IaC</a:t>
          </a:r>
          <a:endParaRPr lang="en-US" sz="2000" dirty="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DEA26E50-8D74-48ED-B7D8-0DD7CBE75C9F}" type="parTrans" cxnId="{B3D0B5A1-57F5-4AA1-8A22-41E1E977FAAE}">
      <dgm:prSet/>
      <dgm:spPr/>
      <dgm:t>
        <a:bodyPr/>
        <a:lstStyle/>
        <a:p>
          <a:endParaRPr lang="en-US"/>
        </a:p>
      </dgm:t>
    </dgm:pt>
    <dgm:pt modelId="{9DDB3FC6-B9FA-430D-855F-9023834ABCFC}" type="sibTrans" cxnId="{B3D0B5A1-57F5-4AA1-8A22-41E1E977FAAE}">
      <dgm:prSet/>
      <dgm:spPr/>
      <dgm:t>
        <a:bodyPr/>
        <a:lstStyle/>
        <a:p>
          <a:endParaRPr lang="en-US"/>
        </a:p>
      </dgm:t>
    </dgm:pt>
    <dgm:pt modelId="{0CD84548-BFF6-4549-B6D6-56E3F96EF59C}">
      <dgm:prSet phldrT="[Text]" custT="1"/>
      <dgm:spPr/>
      <dgm:t>
        <a:bodyPr/>
        <a:lstStyle/>
        <a:p>
          <a:r>
            <a:rPr lang="en-US" sz="2400" b="0" dirty="0">
              <a:latin typeface="Segoe UI" panose="020B0502040204020203" pitchFamily="34" charset="0"/>
              <a:cs typeface="Segoe UI" panose="020B0502040204020203" pitchFamily="34" charset="0"/>
            </a:rPr>
            <a:t>TS everywhere</a:t>
          </a:r>
        </a:p>
      </dgm:t>
    </dgm:pt>
    <dgm:pt modelId="{6DA2A878-1E2C-4D4E-98B0-0AA615306596}" type="sibTrans" cxnId="{A88B89D6-21AA-4059-BF05-67BF2D37C327}">
      <dgm:prSet/>
      <dgm:spPr/>
      <dgm:t>
        <a:bodyPr/>
        <a:lstStyle/>
        <a:p>
          <a:endParaRPr lang="en-US"/>
        </a:p>
      </dgm:t>
    </dgm:pt>
    <dgm:pt modelId="{F24A66F6-F3CE-43B0-918C-CA2DB2E57E0E}" type="parTrans" cxnId="{A88B89D6-21AA-4059-BF05-67BF2D37C327}">
      <dgm:prSet/>
      <dgm:spPr/>
      <dgm:t>
        <a:bodyPr/>
        <a:lstStyle/>
        <a:p>
          <a:endParaRPr lang="en-US"/>
        </a:p>
      </dgm:t>
    </dgm:pt>
    <dgm:pt modelId="{C0B4AD36-6ACD-40A7-BA65-4949F5E57312}">
      <dgm:prSet phldrT="[Text]" custT="1"/>
      <dgm:spPr/>
      <dgm:t>
        <a:bodyPr/>
        <a:lstStyle/>
        <a:p>
          <a:r>
            <a:rPr lang="en-US" sz="2000" dirty="0">
              <a:latin typeface="Segoe UI" panose="020B0502040204020203" pitchFamily="34" charset="0"/>
              <a:cs typeface="Segoe UI" panose="020B0502040204020203" pitchFamily="34" charset="0"/>
            </a:rPr>
            <a:t>Composition</a:t>
          </a:r>
        </a:p>
      </dgm:t>
    </dgm:pt>
    <dgm:pt modelId="{22E53CFD-911C-491B-8558-A30E5A54522E}" type="parTrans" cxnId="{E16C2B63-402E-4E18-A43D-E1E4022C5F17}">
      <dgm:prSet/>
      <dgm:spPr/>
      <dgm:t>
        <a:bodyPr/>
        <a:lstStyle/>
        <a:p>
          <a:endParaRPr lang="en-US"/>
        </a:p>
      </dgm:t>
    </dgm:pt>
    <dgm:pt modelId="{CE94F93C-375A-414D-A7F2-B47DAF51C29D}" type="sibTrans" cxnId="{E16C2B63-402E-4E18-A43D-E1E4022C5F17}">
      <dgm:prSet/>
      <dgm:spPr/>
      <dgm:t>
        <a:bodyPr/>
        <a:lstStyle/>
        <a:p>
          <a:endParaRPr lang="en-US"/>
        </a:p>
      </dgm:t>
    </dgm:pt>
    <dgm:pt modelId="{72045757-4B40-412D-B9B0-445ABDE9951B}">
      <dgm:prSet phldrT="[Text]" custT="1"/>
      <dgm:spPr/>
      <dgm:t>
        <a:bodyPr/>
        <a:lstStyle/>
        <a:p>
          <a:r>
            <a:rPr lang="en-US" sz="2400" b="0" dirty="0">
              <a:latin typeface="Segoe UI" panose="020B0502040204020203" pitchFamily="34" charset="0"/>
              <a:cs typeface="Segoe UI" panose="020B0502040204020203" pitchFamily="34" charset="0"/>
            </a:rPr>
            <a:t>TS for non prod</a:t>
          </a:r>
        </a:p>
      </dgm:t>
    </dgm:pt>
    <dgm:pt modelId="{5457746A-8FEE-41F9-AB54-1655F9AB0D5F}" type="parTrans" cxnId="{06F3720F-624C-4466-A629-B3C2C711F73A}">
      <dgm:prSet/>
      <dgm:spPr/>
      <dgm:t>
        <a:bodyPr/>
        <a:lstStyle/>
        <a:p>
          <a:endParaRPr lang="en-US"/>
        </a:p>
      </dgm:t>
    </dgm:pt>
    <dgm:pt modelId="{07309092-F5B7-4B77-AA46-74A60476F952}" type="sibTrans" cxnId="{06F3720F-624C-4466-A629-B3C2C711F73A}">
      <dgm:prSet/>
      <dgm:spPr/>
      <dgm:t>
        <a:bodyPr/>
        <a:lstStyle/>
        <a:p>
          <a:endParaRPr lang="en-US"/>
        </a:p>
      </dgm:t>
    </dgm:pt>
    <dgm:pt modelId="{BFD59BD2-5035-42C1-A56A-57D903C47EAE}">
      <dgm:prSet phldrT="[Text]" custT="1"/>
      <dgm:spPr/>
      <dgm:t>
        <a:bodyPr/>
        <a:lstStyle/>
        <a:p>
          <a:r>
            <a:rPr lang="en-US" sz="2000" b="0" dirty="0">
              <a:latin typeface="Segoe UI" panose="020B0502040204020203" pitchFamily="34" charset="0"/>
              <a:cs typeface="Segoe UI" panose="020B0502040204020203" pitchFamily="34" charset="0"/>
            </a:rPr>
            <a:t>Deployment Options</a:t>
          </a:r>
          <a:endParaRPr lang="en-US" sz="2000" dirty="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2BBA93C7-B449-4884-B8B6-18DF69D5D1AF}" type="parTrans" cxnId="{BF1F1F7E-6E54-41AC-8D23-34F60150390C}">
      <dgm:prSet/>
      <dgm:spPr/>
    </dgm:pt>
    <dgm:pt modelId="{6FB33CDA-5B57-4BEC-B01E-3F4A64482742}" type="sibTrans" cxnId="{BF1F1F7E-6E54-41AC-8D23-34F60150390C}">
      <dgm:prSet/>
      <dgm:spPr/>
    </dgm:pt>
    <dgm:pt modelId="{655CBF77-9A63-421A-AFBE-75B9C45ABE67}" type="pres">
      <dgm:prSet presAssocID="{AC9B3D44-A0CC-4574-B33D-B138ED440CDA}" presName="Name0" presStyleCnt="0">
        <dgm:presLayoutVars>
          <dgm:dir/>
          <dgm:resizeHandles val="exact"/>
        </dgm:presLayoutVars>
      </dgm:prSet>
      <dgm:spPr/>
    </dgm:pt>
    <dgm:pt modelId="{0EFEA4C1-0E3A-4093-8E30-F6AF7CF7EBA7}" type="pres">
      <dgm:prSet presAssocID="{AC9B3D44-A0CC-4574-B33D-B138ED440CDA}" presName="fgShape" presStyleLbl="fgShp" presStyleIdx="0" presStyleCnt="1" custScaleX="64542"/>
      <dgm:spPr>
        <a:noFill/>
        <a:ln>
          <a:noFill/>
        </a:ln>
      </dgm:spPr>
    </dgm:pt>
    <dgm:pt modelId="{C7E1B2EE-19E1-4800-9431-55A7119D50CB}" type="pres">
      <dgm:prSet presAssocID="{AC9B3D44-A0CC-4574-B33D-B138ED440CDA}" presName="linComp" presStyleCnt="0"/>
      <dgm:spPr/>
    </dgm:pt>
    <dgm:pt modelId="{90D0FBA3-1821-4689-81FD-C94EE3C7F9B9}" type="pres">
      <dgm:prSet presAssocID="{7988F297-D15C-4C11-ADEB-B542C87EF07D}" presName="compNode" presStyleCnt="0"/>
      <dgm:spPr/>
    </dgm:pt>
    <dgm:pt modelId="{55687E20-1FA8-4643-A582-4248149F6612}" type="pres">
      <dgm:prSet presAssocID="{7988F297-D15C-4C11-ADEB-B542C87EF07D}" presName="bkgdShape" presStyleLbl="node1" presStyleIdx="0" presStyleCnt="3"/>
      <dgm:spPr/>
    </dgm:pt>
    <dgm:pt modelId="{DE84AD04-89E5-47A2-970F-14B7B8209691}" type="pres">
      <dgm:prSet presAssocID="{7988F297-D15C-4C11-ADEB-B542C87EF07D}" presName="nodeTx" presStyleLbl="node1" presStyleIdx="0" presStyleCnt="3">
        <dgm:presLayoutVars>
          <dgm:bulletEnabled val="1"/>
        </dgm:presLayoutVars>
      </dgm:prSet>
      <dgm:spPr/>
    </dgm:pt>
    <dgm:pt modelId="{402F1CC4-5695-41E1-8AA7-CD19DF34AFCF}" type="pres">
      <dgm:prSet presAssocID="{7988F297-D15C-4C11-ADEB-B542C87EF07D}" presName="invisiNode" presStyleLbl="node1" presStyleIdx="0" presStyleCnt="3"/>
      <dgm:spPr/>
    </dgm:pt>
    <dgm:pt modelId="{C75BD736-1A41-4863-B89F-6A03CC41A67F}" type="pres">
      <dgm:prSet presAssocID="{7988F297-D15C-4C11-ADEB-B542C87EF07D}" presName="imagNode" presStyleLbl="fgImgPlace1" presStyleIdx="0" presStyleCnt="3"/>
      <dgm:spPr>
        <a:blipFill rotWithShape="1">
          <a:blip xmlns:r="http://schemas.openxmlformats.org/officeDocument/2006/relationships" r:embed="rId1"/>
          <a:srcRect/>
          <a:stretch>
            <a:fillRect/>
          </a:stretch>
        </a:blipFill>
      </dgm:spPr>
    </dgm:pt>
    <dgm:pt modelId="{2D1CA7CF-A6A6-4557-8E3C-937803DA951B}" type="pres">
      <dgm:prSet presAssocID="{C77D1640-694D-43CF-8054-B2BA6DC55A69}" presName="sibTrans" presStyleLbl="sibTrans2D1" presStyleIdx="0" presStyleCnt="0"/>
      <dgm:spPr/>
    </dgm:pt>
    <dgm:pt modelId="{463304A1-6D59-4BB7-A3DA-FF9962AC7ADA}" type="pres">
      <dgm:prSet presAssocID="{7C965FE3-DD92-4091-88FE-D6D2EAF30BC1}" presName="compNode" presStyleCnt="0"/>
      <dgm:spPr/>
    </dgm:pt>
    <dgm:pt modelId="{8F606117-646B-465E-8292-304040BE07E0}" type="pres">
      <dgm:prSet presAssocID="{7C965FE3-DD92-4091-88FE-D6D2EAF30BC1}" presName="bkgdShape" presStyleLbl="node1" presStyleIdx="1" presStyleCnt="3"/>
      <dgm:spPr/>
    </dgm:pt>
    <dgm:pt modelId="{FCD3DA1D-3C8E-441D-8097-9302C824752C}" type="pres">
      <dgm:prSet presAssocID="{7C965FE3-DD92-4091-88FE-D6D2EAF30BC1}" presName="nodeTx" presStyleLbl="node1" presStyleIdx="1" presStyleCnt="3">
        <dgm:presLayoutVars>
          <dgm:bulletEnabled val="1"/>
        </dgm:presLayoutVars>
      </dgm:prSet>
      <dgm:spPr/>
    </dgm:pt>
    <dgm:pt modelId="{B6818608-1529-42C1-B5FE-D7FA495704D3}" type="pres">
      <dgm:prSet presAssocID="{7C965FE3-DD92-4091-88FE-D6D2EAF30BC1}" presName="invisiNode" presStyleLbl="node1" presStyleIdx="1" presStyleCnt="3"/>
      <dgm:spPr/>
    </dgm:pt>
    <dgm:pt modelId="{C71662BE-94CA-4868-A3CB-A0F5E15A0B81}" type="pres">
      <dgm:prSet presAssocID="{7C965FE3-DD92-4091-88FE-D6D2EAF30BC1}" presName="imagNode" presStyleLbl="fgImgPlace1" presStyleIdx="1" presStyleCnt="3"/>
      <dgm:spPr>
        <a:blipFill rotWithShape="1">
          <a:blip xmlns:r="http://schemas.openxmlformats.org/officeDocument/2006/relationships" r:embed="rId1"/>
          <a:srcRect/>
          <a:stretch>
            <a:fillRect/>
          </a:stretch>
        </a:blipFill>
      </dgm:spPr>
    </dgm:pt>
    <dgm:pt modelId="{F40CF809-2810-4860-AC73-A20EF510A847}" type="pres">
      <dgm:prSet presAssocID="{5CC58E07-8929-4D5D-9D46-9F35DA3F0B95}" presName="sibTrans" presStyleLbl="sibTrans2D1" presStyleIdx="0" presStyleCnt="0"/>
      <dgm:spPr/>
    </dgm:pt>
    <dgm:pt modelId="{23ECCDE1-3A92-4955-9255-57E782108C5D}" type="pres">
      <dgm:prSet presAssocID="{58AD87BF-8ED0-4BD5-9EEA-71BAD1A61B00}" presName="compNode" presStyleCnt="0"/>
      <dgm:spPr/>
    </dgm:pt>
    <dgm:pt modelId="{8D06AC0C-77D1-4D09-BBD4-B2552996B2C6}" type="pres">
      <dgm:prSet presAssocID="{58AD87BF-8ED0-4BD5-9EEA-71BAD1A61B00}" presName="bkgdShape" presStyleLbl="node1" presStyleIdx="2" presStyleCnt="3"/>
      <dgm:spPr/>
    </dgm:pt>
    <dgm:pt modelId="{8A56D2D2-A8F0-4611-B107-DFDD92198B79}" type="pres">
      <dgm:prSet presAssocID="{58AD87BF-8ED0-4BD5-9EEA-71BAD1A61B00}" presName="nodeTx" presStyleLbl="node1" presStyleIdx="2" presStyleCnt="3">
        <dgm:presLayoutVars>
          <dgm:bulletEnabled val="1"/>
        </dgm:presLayoutVars>
      </dgm:prSet>
      <dgm:spPr/>
    </dgm:pt>
    <dgm:pt modelId="{291F2235-B9EE-490C-B7C1-A80F213454F3}" type="pres">
      <dgm:prSet presAssocID="{58AD87BF-8ED0-4BD5-9EEA-71BAD1A61B00}" presName="invisiNode" presStyleLbl="node1" presStyleIdx="2" presStyleCnt="3"/>
      <dgm:spPr/>
    </dgm:pt>
    <dgm:pt modelId="{3121972C-1790-4663-AE61-2148EF6FDCD2}" type="pres">
      <dgm:prSet presAssocID="{58AD87BF-8ED0-4BD5-9EEA-71BAD1A61B00}" presName="imagNode" presStyleLbl="fgImgPlace1" presStyleIdx="2" presStyleCnt="3"/>
      <dgm:spPr>
        <a:blipFill rotWithShape="1">
          <a:blip xmlns:r="http://schemas.openxmlformats.org/officeDocument/2006/relationships" r:embed="rId1"/>
          <a:srcRect/>
          <a:stretch>
            <a:fillRect/>
          </a:stretch>
        </a:blipFill>
      </dgm:spPr>
    </dgm:pt>
  </dgm:ptLst>
  <dgm:cxnLst>
    <dgm:cxn modelId="{C07A3307-1FC5-43B5-99FD-5087A4E87D50}" type="presOf" srcId="{7988F297-D15C-4C11-ADEB-B542C87EF07D}" destId="{DE84AD04-89E5-47A2-970F-14B7B8209691}" srcOrd="1" destOrd="0" presId="urn:microsoft.com/office/officeart/2005/8/layout/hList7"/>
    <dgm:cxn modelId="{F18B2708-C8DE-48BD-AB5C-4B535DD9B3F1}" srcId="{7988F297-D15C-4C11-ADEB-B542C87EF07D}" destId="{402932E3-BE5D-402A-9C87-4600A418A01F}" srcOrd="1" destOrd="0" parTransId="{C68C3631-174C-426D-81AB-1895C36C6B6E}" sibTransId="{B2632713-6510-4C01-8E47-FA1AC102F432}"/>
    <dgm:cxn modelId="{54CC080A-467F-44FC-AEF5-8D96F54E3C2D}" type="presOf" srcId="{C0B4AD36-6ACD-40A7-BA65-4949F5E57312}" destId="{8F606117-646B-465E-8292-304040BE07E0}" srcOrd="0" destOrd="4" presId="urn:microsoft.com/office/officeart/2005/8/layout/hList7"/>
    <dgm:cxn modelId="{0CC17F0B-5DB9-4460-B7BC-CEB874E1AC5C}" type="presOf" srcId="{BFD59BD2-5035-42C1-A56A-57D903C47EAE}" destId="{8F606117-646B-465E-8292-304040BE07E0}" srcOrd="0" destOrd="3" presId="urn:microsoft.com/office/officeart/2005/8/layout/hList7"/>
    <dgm:cxn modelId="{06F3720F-624C-4466-A629-B3C2C711F73A}" srcId="{58AD87BF-8ED0-4BD5-9EEA-71BAD1A61B00}" destId="{72045757-4B40-412D-B9B0-445ABDE9951B}" srcOrd="1" destOrd="0" parTransId="{5457746A-8FEE-41F9-AB54-1655F9AB0D5F}" sibTransId="{07309092-F5B7-4B77-AA46-74A60476F952}"/>
    <dgm:cxn modelId="{681F421A-03FA-4010-A579-265A61B4E188}" type="presOf" srcId="{72045757-4B40-412D-B9B0-445ABDE9951B}" destId="{8D06AC0C-77D1-4D09-BBD4-B2552996B2C6}" srcOrd="0" destOrd="2" presId="urn:microsoft.com/office/officeart/2005/8/layout/hList7"/>
    <dgm:cxn modelId="{FE6AD31B-B49D-4B57-AB9F-78B91F66B1E8}" srcId="{AC9B3D44-A0CC-4574-B33D-B138ED440CDA}" destId="{58AD87BF-8ED0-4BD5-9EEA-71BAD1A61B00}" srcOrd="2" destOrd="0" parTransId="{A5AADC75-079A-48AE-9D57-D94FD8B1B710}" sibTransId="{E70B6A76-C687-42E0-8102-5945F60DE0DC}"/>
    <dgm:cxn modelId="{AAFB1C29-FEC3-496A-906B-DE58C017700D}" type="presOf" srcId="{17E1B48F-FFE9-4E3C-B286-2C8D78B67095}" destId="{DE84AD04-89E5-47A2-970F-14B7B8209691}" srcOrd="1" destOrd="3" presId="urn:microsoft.com/office/officeart/2005/8/layout/hList7"/>
    <dgm:cxn modelId="{5230E333-8F6F-4069-BB60-87AB0A14129E}" type="presOf" srcId="{ABA0481D-5353-4284-8F70-8217ADE56E28}" destId="{FCD3DA1D-3C8E-441D-8097-9302C824752C}" srcOrd="1" destOrd="1" presId="urn:microsoft.com/office/officeart/2005/8/layout/hList7"/>
    <dgm:cxn modelId="{DB6DD935-1D56-4039-A26E-26B3291F8142}" type="presOf" srcId="{BFD59BD2-5035-42C1-A56A-57D903C47EAE}" destId="{FCD3DA1D-3C8E-441D-8097-9302C824752C}" srcOrd="1" destOrd="3" presId="urn:microsoft.com/office/officeart/2005/8/layout/hList7"/>
    <dgm:cxn modelId="{163AA036-80B4-427B-8262-B6892B2D9459}" type="presOf" srcId="{56ABC171-25C6-4FCD-87C8-109D6312E6DA}" destId="{DE84AD04-89E5-47A2-970F-14B7B8209691}" srcOrd="1" destOrd="1" presId="urn:microsoft.com/office/officeart/2005/8/layout/hList7"/>
    <dgm:cxn modelId="{BB3EFE3C-AE5A-4BA8-8FA2-F29727FDB581}" type="presOf" srcId="{0CD84548-BFF6-4549-B6D6-56E3F96EF59C}" destId="{8D06AC0C-77D1-4D09-BBD4-B2552996B2C6}" srcOrd="0" destOrd="1" presId="urn:microsoft.com/office/officeart/2005/8/layout/hList7"/>
    <dgm:cxn modelId="{6B04EF41-F31A-49B7-85DB-55A25B55D4D5}" type="presOf" srcId="{17E1B48F-FFE9-4E3C-B286-2C8D78B67095}" destId="{55687E20-1FA8-4643-A582-4248149F6612}" srcOrd="0" destOrd="3" presId="urn:microsoft.com/office/officeart/2005/8/layout/hList7"/>
    <dgm:cxn modelId="{762C5262-BFCF-4271-8451-C6835986ED21}" type="presOf" srcId="{6791FD48-50DD-45B6-A4E2-BBBC2B2FBE33}" destId="{FCD3DA1D-3C8E-441D-8097-9302C824752C}" srcOrd="1" destOrd="2" presId="urn:microsoft.com/office/officeart/2005/8/layout/hList7"/>
    <dgm:cxn modelId="{E16C2B63-402E-4E18-A43D-E1E4022C5F17}" srcId="{7C965FE3-DD92-4091-88FE-D6D2EAF30BC1}" destId="{C0B4AD36-6ACD-40A7-BA65-4949F5E57312}" srcOrd="3" destOrd="0" parTransId="{22E53CFD-911C-491B-8558-A30E5A54522E}" sibTransId="{CE94F93C-375A-414D-A7F2-B47DAF51C29D}"/>
    <dgm:cxn modelId="{EB419344-8E70-4002-835C-0D661E0636FB}" type="presOf" srcId="{C0B4AD36-6ACD-40A7-BA65-4949F5E57312}" destId="{FCD3DA1D-3C8E-441D-8097-9302C824752C}" srcOrd="1" destOrd="4" presId="urn:microsoft.com/office/officeart/2005/8/layout/hList7"/>
    <dgm:cxn modelId="{A06A1C45-1C34-4F5A-A4A4-50E185429DC1}" type="presOf" srcId="{7C965FE3-DD92-4091-88FE-D6D2EAF30BC1}" destId="{FCD3DA1D-3C8E-441D-8097-9302C824752C}" srcOrd="1" destOrd="0" presId="urn:microsoft.com/office/officeart/2005/8/layout/hList7"/>
    <dgm:cxn modelId="{4C112F47-C8E1-41C6-AC00-F679A37AA0F1}" type="presOf" srcId="{5CC58E07-8929-4D5D-9D46-9F35DA3F0B95}" destId="{F40CF809-2810-4860-AC73-A20EF510A847}" srcOrd="0" destOrd="0" presId="urn:microsoft.com/office/officeart/2005/8/layout/hList7"/>
    <dgm:cxn modelId="{8E90A567-7842-4BE3-8EB0-7E2CE1CBA192}" type="presOf" srcId="{402932E3-BE5D-402A-9C87-4600A418A01F}" destId="{55687E20-1FA8-4643-A582-4248149F6612}" srcOrd="0" destOrd="2" presId="urn:microsoft.com/office/officeart/2005/8/layout/hList7"/>
    <dgm:cxn modelId="{9286044A-5CE8-4F7A-9AFA-F3632AE5315B}" type="presOf" srcId="{56ABC171-25C6-4FCD-87C8-109D6312E6DA}" destId="{55687E20-1FA8-4643-A582-4248149F6612}" srcOrd="0" destOrd="1" presId="urn:microsoft.com/office/officeart/2005/8/layout/hList7"/>
    <dgm:cxn modelId="{EB5F056A-1D9F-4148-BD0C-18F7B4A676D3}" type="presOf" srcId="{402932E3-BE5D-402A-9C87-4600A418A01F}" destId="{DE84AD04-89E5-47A2-970F-14B7B8209691}" srcOrd="1" destOrd="2" presId="urn:microsoft.com/office/officeart/2005/8/layout/hList7"/>
    <dgm:cxn modelId="{D379AA4E-26AF-4F14-97D7-06992A590DD6}" srcId="{7C965FE3-DD92-4091-88FE-D6D2EAF30BC1}" destId="{6791FD48-50DD-45B6-A4E2-BBBC2B2FBE33}" srcOrd="1" destOrd="0" parTransId="{F30FD5D5-DE9D-4E1D-8C73-DBC53B82D45B}" sibTransId="{4D233824-83F5-4FD9-875C-10D6CC7AD96B}"/>
    <dgm:cxn modelId="{AE389B6F-A8E6-4DF8-AD1E-6DDD640C2836}" srcId="{7988F297-D15C-4C11-ADEB-B542C87EF07D}" destId="{17E1B48F-FFE9-4E3C-B286-2C8D78B67095}" srcOrd="2" destOrd="0" parTransId="{000D60EA-F685-4B17-BE16-48AD51E8CF55}" sibTransId="{9B63D1FF-475E-4CA7-9FB6-5F7F8D9AE45C}"/>
    <dgm:cxn modelId="{9F586C75-FFD3-4F75-B47A-02D6BDE3F582}" type="presOf" srcId="{0CD84548-BFF6-4549-B6D6-56E3F96EF59C}" destId="{8A56D2D2-A8F0-4611-B107-DFDD92198B79}" srcOrd="1" destOrd="1" presId="urn:microsoft.com/office/officeart/2005/8/layout/hList7"/>
    <dgm:cxn modelId="{85016B76-B0E7-4B30-BAEE-AE33B8A17A1D}" type="presOf" srcId="{6791FD48-50DD-45B6-A4E2-BBBC2B2FBE33}" destId="{8F606117-646B-465E-8292-304040BE07E0}" srcOrd="0" destOrd="2" presId="urn:microsoft.com/office/officeart/2005/8/layout/hList7"/>
    <dgm:cxn modelId="{660ACD76-9BA4-4C77-9A8D-D0C340E478F9}" type="presOf" srcId="{C77D1640-694D-43CF-8054-B2BA6DC55A69}" destId="{2D1CA7CF-A6A6-4557-8E3C-937803DA951B}" srcOrd="0" destOrd="0" presId="urn:microsoft.com/office/officeart/2005/8/layout/hList7"/>
    <dgm:cxn modelId="{4B3CAC77-35C3-45AB-995A-7393F77010BC}" type="presOf" srcId="{72045757-4B40-412D-B9B0-445ABDE9951B}" destId="{8A56D2D2-A8F0-4611-B107-DFDD92198B79}" srcOrd="1" destOrd="2" presId="urn:microsoft.com/office/officeart/2005/8/layout/hList7"/>
    <dgm:cxn modelId="{ACCCED78-9E7D-4763-99F0-7C7BC4C4AEA1}" type="presOf" srcId="{7C965FE3-DD92-4091-88FE-D6D2EAF30BC1}" destId="{8F606117-646B-465E-8292-304040BE07E0}" srcOrd="0" destOrd="0" presId="urn:microsoft.com/office/officeart/2005/8/layout/hList7"/>
    <dgm:cxn modelId="{BF1F1F7E-6E54-41AC-8D23-34F60150390C}" srcId="{7C965FE3-DD92-4091-88FE-D6D2EAF30BC1}" destId="{BFD59BD2-5035-42C1-A56A-57D903C47EAE}" srcOrd="2" destOrd="0" parTransId="{2BBA93C7-B449-4884-B8B6-18DF69D5D1AF}" sibTransId="{6FB33CDA-5B57-4BEC-B01E-3F4A64482742}"/>
    <dgm:cxn modelId="{DF0FA47E-C1A3-43B2-9450-71FD2FB5CB2F}" srcId="{AC9B3D44-A0CC-4574-B33D-B138ED440CDA}" destId="{7988F297-D15C-4C11-ADEB-B542C87EF07D}" srcOrd="0" destOrd="0" parTransId="{FC68F2A7-E56B-4E99-AC26-B70C2BBEA1CB}" sibTransId="{C77D1640-694D-43CF-8054-B2BA6DC55A69}"/>
    <dgm:cxn modelId="{04C57394-FF34-4446-8E22-1E82B07BCC38}" srcId="{7C965FE3-DD92-4091-88FE-D6D2EAF30BC1}" destId="{ABA0481D-5353-4284-8F70-8217ADE56E28}" srcOrd="0" destOrd="0" parTransId="{9957A3A7-ABC0-4037-B6E3-1A8507F4FB17}" sibTransId="{7ADBB19E-27FE-4532-9932-0EBBA36D98F1}"/>
    <dgm:cxn modelId="{14C21C9D-CBE5-44AD-850D-3E3548759A52}" type="presOf" srcId="{7988F297-D15C-4C11-ADEB-B542C87EF07D}" destId="{55687E20-1FA8-4643-A582-4248149F6612}" srcOrd="0" destOrd="0" presId="urn:microsoft.com/office/officeart/2005/8/layout/hList7"/>
    <dgm:cxn modelId="{B3D0B5A1-57F5-4AA1-8A22-41E1E977FAAE}" srcId="{7988F297-D15C-4C11-ADEB-B542C87EF07D}" destId="{56ABC171-25C6-4FCD-87C8-109D6312E6DA}" srcOrd="0" destOrd="0" parTransId="{DEA26E50-8D74-48ED-B7D8-0DD7CBE75C9F}" sibTransId="{9DDB3FC6-B9FA-430D-855F-9023834ABCFC}"/>
    <dgm:cxn modelId="{8C04FCB5-1DD4-4993-A160-83BA936D8DB8}" type="presOf" srcId="{58AD87BF-8ED0-4BD5-9EEA-71BAD1A61B00}" destId="{8A56D2D2-A8F0-4611-B107-DFDD92198B79}" srcOrd="1" destOrd="0" presId="urn:microsoft.com/office/officeart/2005/8/layout/hList7"/>
    <dgm:cxn modelId="{136F9DD3-163E-4B5C-90BF-0B126A565928}" type="presOf" srcId="{ABA0481D-5353-4284-8F70-8217ADE56E28}" destId="{8F606117-646B-465E-8292-304040BE07E0}" srcOrd="0" destOrd="1" presId="urn:microsoft.com/office/officeart/2005/8/layout/hList7"/>
    <dgm:cxn modelId="{A88B89D6-21AA-4059-BF05-67BF2D37C327}" srcId="{58AD87BF-8ED0-4BD5-9EEA-71BAD1A61B00}" destId="{0CD84548-BFF6-4549-B6D6-56E3F96EF59C}" srcOrd="0" destOrd="0" parTransId="{F24A66F6-F3CE-43B0-918C-CA2DB2E57E0E}" sibTransId="{6DA2A878-1E2C-4D4E-98B0-0AA615306596}"/>
    <dgm:cxn modelId="{898AC3E4-0D9B-4921-B4E8-2CAB0598ECFA}" srcId="{AC9B3D44-A0CC-4574-B33D-B138ED440CDA}" destId="{7C965FE3-DD92-4091-88FE-D6D2EAF30BC1}" srcOrd="1" destOrd="0" parTransId="{78501AFD-3110-4721-B8BC-883AB3F5ACC3}" sibTransId="{5CC58E07-8929-4D5D-9D46-9F35DA3F0B95}"/>
    <dgm:cxn modelId="{716E73E9-CCA1-4119-8939-C117B7BFB6AA}" type="presOf" srcId="{AC9B3D44-A0CC-4574-B33D-B138ED440CDA}" destId="{655CBF77-9A63-421A-AFBE-75B9C45ABE67}" srcOrd="0" destOrd="0" presId="urn:microsoft.com/office/officeart/2005/8/layout/hList7"/>
    <dgm:cxn modelId="{3F416FFF-4779-498A-BF09-DA80203FDFEC}" type="presOf" srcId="{58AD87BF-8ED0-4BD5-9EEA-71BAD1A61B00}" destId="{8D06AC0C-77D1-4D09-BBD4-B2552996B2C6}" srcOrd="0" destOrd="0" presId="urn:microsoft.com/office/officeart/2005/8/layout/hList7"/>
    <dgm:cxn modelId="{93B8D754-60DD-4F68-BA71-B5999D904B7A}" type="presParOf" srcId="{655CBF77-9A63-421A-AFBE-75B9C45ABE67}" destId="{0EFEA4C1-0E3A-4093-8E30-F6AF7CF7EBA7}" srcOrd="0" destOrd="0" presId="urn:microsoft.com/office/officeart/2005/8/layout/hList7"/>
    <dgm:cxn modelId="{773D76A8-056F-4CBA-BE9F-53794513C95E}" type="presParOf" srcId="{655CBF77-9A63-421A-AFBE-75B9C45ABE67}" destId="{C7E1B2EE-19E1-4800-9431-55A7119D50CB}" srcOrd="1" destOrd="0" presId="urn:microsoft.com/office/officeart/2005/8/layout/hList7"/>
    <dgm:cxn modelId="{0602CD2F-403E-4C2A-B9BF-CED7AC6D00F4}" type="presParOf" srcId="{C7E1B2EE-19E1-4800-9431-55A7119D50CB}" destId="{90D0FBA3-1821-4689-81FD-C94EE3C7F9B9}" srcOrd="0" destOrd="0" presId="urn:microsoft.com/office/officeart/2005/8/layout/hList7"/>
    <dgm:cxn modelId="{A29F5343-EE26-4D07-9A11-6F3269768007}" type="presParOf" srcId="{90D0FBA3-1821-4689-81FD-C94EE3C7F9B9}" destId="{55687E20-1FA8-4643-A582-4248149F6612}" srcOrd="0" destOrd="0" presId="urn:microsoft.com/office/officeart/2005/8/layout/hList7"/>
    <dgm:cxn modelId="{55AFA55E-BFB1-42E0-9A23-243A39AD8AD3}" type="presParOf" srcId="{90D0FBA3-1821-4689-81FD-C94EE3C7F9B9}" destId="{DE84AD04-89E5-47A2-970F-14B7B8209691}" srcOrd="1" destOrd="0" presId="urn:microsoft.com/office/officeart/2005/8/layout/hList7"/>
    <dgm:cxn modelId="{EC11A346-AC66-47F0-AD51-F0E9BF9F4E36}" type="presParOf" srcId="{90D0FBA3-1821-4689-81FD-C94EE3C7F9B9}" destId="{402F1CC4-5695-41E1-8AA7-CD19DF34AFCF}" srcOrd="2" destOrd="0" presId="urn:microsoft.com/office/officeart/2005/8/layout/hList7"/>
    <dgm:cxn modelId="{2CB67B0A-5DC5-4F38-9B0A-99F695D826AF}" type="presParOf" srcId="{90D0FBA3-1821-4689-81FD-C94EE3C7F9B9}" destId="{C75BD736-1A41-4863-B89F-6A03CC41A67F}" srcOrd="3" destOrd="0" presId="urn:microsoft.com/office/officeart/2005/8/layout/hList7"/>
    <dgm:cxn modelId="{1A6D9030-673F-4FB2-8B2D-939B9ACD5BF6}" type="presParOf" srcId="{C7E1B2EE-19E1-4800-9431-55A7119D50CB}" destId="{2D1CA7CF-A6A6-4557-8E3C-937803DA951B}" srcOrd="1" destOrd="0" presId="urn:microsoft.com/office/officeart/2005/8/layout/hList7"/>
    <dgm:cxn modelId="{B8EF0B88-6200-49DC-A2A6-BCC26FE3F465}" type="presParOf" srcId="{C7E1B2EE-19E1-4800-9431-55A7119D50CB}" destId="{463304A1-6D59-4BB7-A3DA-FF9962AC7ADA}" srcOrd="2" destOrd="0" presId="urn:microsoft.com/office/officeart/2005/8/layout/hList7"/>
    <dgm:cxn modelId="{44B3D35E-13F6-4D7D-B3EC-C36E1D3C4054}" type="presParOf" srcId="{463304A1-6D59-4BB7-A3DA-FF9962AC7ADA}" destId="{8F606117-646B-465E-8292-304040BE07E0}" srcOrd="0" destOrd="0" presId="urn:microsoft.com/office/officeart/2005/8/layout/hList7"/>
    <dgm:cxn modelId="{52E464FC-EE9F-409E-8A32-360128C5761D}" type="presParOf" srcId="{463304A1-6D59-4BB7-A3DA-FF9962AC7ADA}" destId="{FCD3DA1D-3C8E-441D-8097-9302C824752C}" srcOrd="1" destOrd="0" presId="urn:microsoft.com/office/officeart/2005/8/layout/hList7"/>
    <dgm:cxn modelId="{DE5B5CEB-A64D-4637-9631-531F56C6D3C8}" type="presParOf" srcId="{463304A1-6D59-4BB7-A3DA-FF9962AC7ADA}" destId="{B6818608-1529-42C1-B5FE-D7FA495704D3}" srcOrd="2" destOrd="0" presId="urn:microsoft.com/office/officeart/2005/8/layout/hList7"/>
    <dgm:cxn modelId="{8ADF51CC-55DA-4B88-9A18-B5A1F649CF51}" type="presParOf" srcId="{463304A1-6D59-4BB7-A3DA-FF9962AC7ADA}" destId="{C71662BE-94CA-4868-A3CB-A0F5E15A0B81}" srcOrd="3" destOrd="0" presId="urn:microsoft.com/office/officeart/2005/8/layout/hList7"/>
    <dgm:cxn modelId="{6FBC9443-51B0-459C-8B22-61C8FC5C1A3B}" type="presParOf" srcId="{C7E1B2EE-19E1-4800-9431-55A7119D50CB}" destId="{F40CF809-2810-4860-AC73-A20EF510A847}" srcOrd="3" destOrd="0" presId="urn:microsoft.com/office/officeart/2005/8/layout/hList7"/>
    <dgm:cxn modelId="{1979E312-5295-4A2F-8CE4-0C86DB7A93EC}" type="presParOf" srcId="{C7E1B2EE-19E1-4800-9431-55A7119D50CB}" destId="{23ECCDE1-3A92-4955-9255-57E782108C5D}" srcOrd="4" destOrd="0" presId="urn:microsoft.com/office/officeart/2005/8/layout/hList7"/>
    <dgm:cxn modelId="{31DA3375-26FC-4991-84BB-BB28F945BEDA}" type="presParOf" srcId="{23ECCDE1-3A92-4955-9255-57E782108C5D}" destId="{8D06AC0C-77D1-4D09-BBD4-B2552996B2C6}" srcOrd="0" destOrd="0" presId="urn:microsoft.com/office/officeart/2005/8/layout/hList7"/>
    <dgm:cxn modelId="{EA06842D-B976-4008-AC24-01F3664968E9}" type="presParOf" srcId="{23ECCDE1-3A92-4955-9255-57E782108C5D}" destId="{8A56D2D2-A8F0-4611-B107-DFDD92198B79}" srcOrd="1" destOrd="0" presId="urn:microsoft.com/office/officeart/2005/8/layout/hList7"/>
    <dgm:cxn modelId="{C60A5C42-0DC6-4960-A7F6-91B9F6BB789C}" type="presParOf" srcId="{23ECCDE1-3A92-4955-9255-57E782108C5D}" destId="{291F2235-B9EE-490C-B7C1-A80F213454F3}" srcOrd="2" destOrd="0" presId="urn:microsoft.com/office/officeart/2005/8/layout/hList7"/>
    <dgm:cxn modelId="{F0F80D46-BCD6-4A60-8218-E90044CFFCF6}" type="presParOf" srcId="{23ECCDE1-3A92-4955-9255-57E782108C5D}" destId="{3121972C-1790-4663-AE61-2148EF6FDCD2}" srcOrd="3" destOrd="0" presId="urn:microsoft.com/office/officeart/2005/8/layout/hList7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687E20-1FA8-4643-A582-4248149F6612}">
      <dsp:nvSpPr>
        <dsp:cNvPr id="0" name=""/>
        <dsp:cNvSpPr/>
      </dsp:nvSpPr>
      <dsp:spPr>
        <a:xfrm>
          <a:off x="2323" y="0"/>
          <a:ext cx="3614453" cy="4351338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t" anchorCtr="1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latin typeface="Segoe UI" panose="020B0502040204020203" pitchFamily="34" charset="0"/>
              <a:cs typeface="Segoe UI" panose="020B0502040204020203" pitchFamily="34" charset="0"/>
            </a:rPr>
            <a:t>Infrastructure management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 err="1">
              <a:latin typeface="Segoe UI" panose="020B0502040204020203" pitchFamily="34" charset="0"/>
              <a:cs typeface="Segoe UI" panose="020B0502040204020203" pitchFamily="34" charset="0"/>
            </a:rPr>
            <a:t>IaC</a:t>
          </a:r>
          <a:endParaRPr lang="en-US" sz="2000" kern="1200" dirty="0">
            <a:latin typeface="Segoe UI" panose="020B0502040204020203" pitchFamily="34" charset="0"/>
            <a:cs typeface="Segoe UI" panose="020B0502040204020203" pitchFamily="34" charset="0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 err="1">
              <a:latin typeface="Segoe UI" panose="020B0502040204020203" pitchFamily="34" charset="0"/>
              <a:cs typeface="Segoe UI" panose="020B0502040204020203" pitchFamily="34" charset="0"/>
            </a:rPr>
            <a:t>GitOps</a:t>
          </a:r>
          <a:endParaRPr lang="en-US" sz="2000" kern="1200" dirty="0">
            <a:latin typeface="Segoe UI" panose="020B0502040204020203" pitchFamily="34" charset="0"/>
            <a:cs typeface="Segoe UI" panose="020B0502040204020203" pitchFamily="34" charset="0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>
              <a:latin typeface="Segoe UI" panose="020B0502040204020203" pitchFamily="34" charset="0"/>
              <a:cs typeface="Segoe UI" panose="020B0502040204020203" pitchFamily="34" charset="0"/>
            </a:rPr>
            <a:t>Catalog</a:t>
          </a:r>
        </a:p>
      </dsp:txBody>
      <dsp:txXfrm>
        <a:off x="2323" y="1740535"/>
        <a:ext cx="3614453" cy="1740535"/>
      </dsp:txXfrm>
    </dsp:sp>
    <dsp:sp modelId="{C75BD736-1A41-4863-B89F-6A03CC41A67F}">
      <dsp:nvSpPr>
        <dsp:cNvPr id="0" name=""/>
        <dsp:cNvSpPr/>
      </dsp:nvSpPr>
      <dsp:spPr>
        <a:xfrm>
          <a:off x="1085052" y="261080"/>
          <a:ext cx="1448995" cy="1448995"/>
        </a:xfrm>
        <a:prstGeom prst="ellipse">
          <a:avLst/>
        </a:prstGeom>
        <a:blipFill rotWithShape="1">
          <a:blip xmlns:r="http://schemas.openxmlformats.org/officeDocument/2006/relationships" r:embed="rId1"/>
          <a:srcRect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8F606117-646B-465E-8292-304040BE07E0}">
      <dsp:nvSpPr>
        <dsp:cNvPr id="0" name=""/>
        <dsp:cNvSpPr/>
      </dsp:nvSpPr>
      <dsp:spPr>
        <a:xfrm>
          <a:off x="3725210" y="0"/>
          <a:ext cx="3614453" cy="4351338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t" anchorCtr="1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latin typeface="Segoe UI" panose="020B0502040204020203" pitchFamily="34" charset="0"/>
              <a:cs typeface="Segoe UI" panose="020B0502040204020203" pitchFamily="34" charset="0"/>
            </a:rPr>
            <a:t>Azure Template Specs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>
              <a:latin typeface="Segoe UI" panose="020B0502040204020203" pitchFamily="34" charset="0"/>
              <a:cs typeface="Segoe UI" panose="020B0502040204020203" pitchFamily="34" charset="0"/>
            </a:rPr>
            <a:t>Template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>
              <a:latin typeface="Segoe UI" panose="020B0502040204020203" pitchFamily="34" charset="0"/>
              <a:cs typeface="Segoe UI" panose="020B0502040204020203" pitchFamily="34" charset="0"/>
            </a:rPr>
            <a:t>User Interface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b="0" kern="1200" dirty="0">
              <a:latin typeface="Segoe UI" panose="020B0502040204020203" pitchFamily="34" charset="0"/>
              <a:cs typeface="Segoe UI" panose="020B0502040204020203" pitchFamily="34" charset="0"/>
            </a:rPr>
            <a:t>Deployment Options</a:t>
          </a:r>
          <a:endParaRPr lang="en-US" sz="2000" kern="1200" dirty="0">
            <a:latin typeface="Segoe UI" panose="020B0502040204020203" pitchFamily="34" charset="0"/>
            <a:cs typeface="Segoe UI" panose="020B0502040204020203" pitchFamily="34" charset="0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>
              <a:latin typeface="Segoe UI" panose="020B0502040204020203" pitchFamily="34" charset="0"/>
              <a:cs typeface="Segoe UI" panose="020B0502040204020203" pitchFamily="34" charset="0"/>
            </a:rPr>
            <a:t>Composition</a:t>
          </a:r>
        </a:p>
      </dsp:txBody>
      <dsp:txXfrm>
        <a:off x="3725210" y="1740535"/>
        <a:ext cx="3614453" cy="1740535"/>
      </dsp:txXfrm>
    </dsp:sp>
    <dsp:sp modelId="{C71662BE-94CA-4868-A3CB-A0F5E15A0B81}">
      <dsp:nvSpPr>
        <dsp:cNvPr id="0" name=""/>
        <dsp:cNvSpPr/>
      </dsp:nvSpPr>
      <dsp:spPr>
        <a:xfrm>
          <a:off x="4807939" y="261080"/>
          <a:ext cx="1448995" cy="1448995"/>
        </a:xfrm>
        <a:prstGeom prst="ellipse">
          <a:avLst/>
        </a:prstGeom>
        <a:blipFill rotWithShape="1">
          <a:blip xmlns:r="http://schemas.openxmlformats.org/officeDocument/2006/relationships" r:embed="rId1"/>
          <a:srcRect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8D06AC0C-77D1-4D09-BBD4-B2552996B2C6}">
      <dsp:nvSpPr>
        <dsp:cNvPr id="0" name=""/>
        <dsp:cNvSpPr/>
      </dsp:nvSpPr>
      <dsp:spPr>
        <a:xfrm>
          <a:off x="7448098" y="0"/>
          <a:ext cx="3614453" cy="4351338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t" anchorCtr="1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latin typeface="Segoe UI" panose="020B0502040204020203" pitchFamily="34" charset="0"/>
              <a:cs typeface="Segoe UI" panose="020B0502040204020203" pitchFamily="34" charset="0"/>
            </a:rPr>
            <a:t>Conclusions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b="0" kern="1200" dirty="0">
              <a:latin typeface="Segoe UI" panose="020B0502040204020203" pitchFamily="34" charset="0"/>
              <a:cs typeface="Segoe UI" panose="020B0502040204020203" pitchFamily="34" charset="0"/>
            </a:rPr>
            <a:t>TS everywhere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b="0" kern="1200" dirty="0">
              <a:latin typeface="Segoe UI" panose="020B0502040204020203" pitchFamily="34" charset="0"/>
              <a:cs typeface="Segoe UI" panose="020B0502040204020203" pitchFamily="34" charset="0"/>
            </a:rPr>
            <a:t>TS for non prod</a:t>
          </a:r>
        </a:p>
      </dsp:txBody>
      <dsp:txXfrm>
        <a:off x="7448098" y="1740535"/>
        <a:ext cx="3614453" cy="1740535"/>
      </dsp:txXfrm>
    </dsp:sp>
    <dsp:sp modelId="{3121972C-1790-4663-AE61-2148EF6FDCD2}">
      <dsp:nvSpPr>
        <dsp:cNvPr id="0" name=""/>
        <dsp:cNvSpPr/>
      </dsp:nvSpPr>
      <dsp:spPr>
        <a:xfrm>
          <a:off x="8530827" y="261080"/>
          <a:ext cx="1448995" cy="1448995"/>
        </a:xfrm>
        <a:prstGeom prst="ellipse">
          <a:avLst/>
        </a:prstGeom>
        <a:blipFill rotWithShape="1">
          <a:blip xmlns:r="http://schemas.openxmlformats.org/officeDocument/2006/relationships" r:embed="rId1"/>
          <a:srcRect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0EFEA4C1-0E3A-4093-8E30-F6AF7CF7EBA7}">
      <dsp:nvSpPr>
        <dsp:cNvPr id="0" name=""/>
        <dsp:cNvSpPr/>
      </dsp:nvSpPr>
      <dsp:spPr>
        <a:xfrm>
          <a:off x="2247351" y="3481070"/>
          <a:ext cx="6570172" cy="652700"/>
        </a:xfrm>
        <a:prstGeom prst="leftRightArrow">
          <a:avLst/>
        </a:prstGeom>
        <a:noFill/>
        <a:ln w="19050" cap="flat" cmpd="sng" algn="ctr">
          <a:noFill/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90D770-57B5-41AE-94A5-8172B3072938}" type="datetimeFigureOut">
              <a:rPr lang="en-US" smtClean="0"/>
              <a:t>9/27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221A22-6757-4DFC-AC52-B0B349051E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21146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394269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64370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09088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93534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84390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ell the story of </a:t>
            </a:r>
            <a:r>
              <a:rPr lang="en-US" dirty="0" err="1"/>
              <a:t>KeyVault</a:t>
            </a:r>
            <a:r>
              <a:rPr lang="en-US" dirty="0"/>
              <a:t> access mode switch issue investig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00115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ell the story of </a:t>
            </a:r>
            <a:r>
              <a:rPr lang="en-US" dirty="0" err="1"/>
              <a:t>KeyVault</a:t>
            </a:r>
            <a:r>
              <a:rPr lang="en-US" dirty="0"/>
              <a:t> access mode switch issue investig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99893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02736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84412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32855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56302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05BF1E-1166-42E4-A650-DA8B4F7A4A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0E45B50-3542-4823-BBEB-016A3A15D8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0FC5B5-1E1F-4F0D-B339-EA77AC1BB0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491C48-D9A0-4212-BCF5-162DC3A6DE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4B34A6-D8EB-4985-AFC2-02935CB5BE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435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258ECF-D4A1-455D-9C89-5A8918AFA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CD0D2A3-2723-4E51-91B3-96FFD9473FD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EA93C8-8A6A-48B8-B7B4-54AC10D34E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ABC066-172F-47A4-8A21-C259819B8F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0ADF40-0E2A-4CEA-BE91-AD2B23CCE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3571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779E898-53E5-4DB6-8E1F-441A34BE954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4A75BBB-D183-48AD-B055-BEDA3A1886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837008-1508-4D8A-AFCC-DD48481AE4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F37FAC-F0B4-471F-B51A-D1C1468ACF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A7B634-79C3-488C-BF4B-4BC20173C5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30022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5FFCFD5-7549-46DE-99AE-A249D5D5F3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7915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5FFCFD5-7549-46DE-99AE-A249D5D5F3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BFE13E35-06C7-4AAE-AA3F-972308AF3A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8300B4D-EA0D-4DD5-92FE-9AE5CDD9248C}"/>
              </a:ext>
            </a:extLst>
          </p:cNvPr>
          <p:cNvSpPr/>
          <p:nvPr userDrawn="1"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D3AD22B-25E4-4680-8484-6D885B9CCEE8}"/>
              </a:ext>
            </a:extLst>
          </p:cNvPr>
          <p:cNvSpPr/>
          <p:nvPr userDrawn="1"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EED8CC-574A-4170-AB23-424B7F5BDF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243" y="365125"/>
            <a:ext cx="11063515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8B05A6-6B64-4F04-A952-8081607C02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798E3A-8CEB-4709-9B49-E0C39D4180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64243" y="6356350"/>
            <a:ext cx="41148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743404-9A57-4735-ACBB-7108D1A427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90564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0BC0DB-6472-43BB-ABA8-D8F66889EE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6A6C4A-7E58-4AE3-A079-EA1D8F7E5D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3E6C5A-FADC-4464-B574-84BE9A9AE8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D5AB64-3B8F-469A-9E9D-31AF0A6732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644728-1BF7-442A-8B14-27772F7F28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0526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073B3-B0D0-4D5C-92E7-2AAFB805B1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5FC71F-EE36-48B6-8807-2B48ADDC14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7774ED-94F7-48EB-BB14-292A9DEEAC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0125242-488C-4F35-9C69-034559477E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85215A4-C697-4853-B389-4388146820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E855D4F-3EC5-48E5-93CF-5B3955743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95175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15FD3B-62B2-40A7-9C5E-D59A563B85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4B52F2-0C45-40FA-BA05-6D71C76750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E3162A5-558A-4178-A596-17F9AF8950D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E18D29-500B-4D5C-84EE-272E40FA2C0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28AE882-0C6C-4945-9BD8-8C7D92F8A44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1AFC0EB-3EF1-49E9-9D2B-5BC44206CE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9879882-1555-42E6-BADE-2724267BFE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CF01C58-BCC5-4D09-986E-2B2C179B6A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97770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100A9B-3C47-40D5-B012-97B76E52F1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CFC465-660A-4C1D-BADB-F3AC3396EA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1BCC98-DE68-44EC-840A-9FB43DB0E0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109EF7D-6C8E-4283-BB47-AA9AB6DB1F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79572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C42AA79-F984-4422-BF6F-50883D79C8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D2003D-CE92-47E4-8106-E66ED1BB9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63EB9E-00B9-4AB1-BC48-99741F2FC0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1626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E5B6F4-ADD4-4797-8738-409BE6538E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2E08F3-F99C-4CB5-8E61-6D9945F554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81CE58-44DA-48F3-ADE9-ED905CAD55B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36EB04A-137F-416C-9B0B-195B39A68B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75602A-70AE-46FE-89FD-5EA00F3965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F55F41-E685-4D3D-9929-3E02B72332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9632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D18340-4AF0-4FF0-8817-AE7B28572D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FFB86DB-D51B-4F95-A82B-E19F9D7364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E60E2CC-1033-48AC-9E85-26A7C2E8988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05152D4-B87B-4D90-9451-5EA4B577FD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44E855-F194-46C7-B1A7-F4AB5C0AA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7DD6947-6438-4AB6-958F-A11FF5ED67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60153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F91C388-EB4B-48EF-9782-5EF82E15A8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973655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F91C388-EB4B-48EF-9782-5EF82E15A8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6704376-6210-4E3A-9786-1426DDE0A945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20A06BC-D081-497A-9E69-9C9229194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11365F-4FB0-4D50-AD30-EB300A5FDD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4575C3-6B77-45F9-8BB3-CF2AEE26EF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FB4E16-9F6A-4AE3-A484-182F2B6722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B73065-0481-485F-8A72-5FC7E24E89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4376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6.png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4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6.png"/><Relationship Id="rId4" Type="http://schemas.openxmlformats.org/officeDocument/2006/relationships/image" Target="../media/image20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14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en-us/azure/azure-resource-manager/managed-applications/create-uidefinition-functions" TargetMode="External"/><Relationship Id="rId7" Type="http://schemas.openxmlformats.org/officeDocument/2006/relationships/image" Target="../media/image26.png"/><Relationship Id="rId2" Type="http://schemas.openxmlformats.org/officeDocument/2006/relationships/hyperlink" Target="https://learn.microsoft.com/en-us/azure/azure-resource-manager/managed-applications/create-uidefinition-elements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portal.azure.com/#view/Microsoft_Azure_CreateUIDef/FormSandboxBlade" TargetMode="Externa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atevnotes.com/using-blades-from-the-azure-portal-for-ui-of-template-specs/" TargetMode="External"/><Relationship Id="rId2" Type="http://schemas.openxmlformats.org/officeDocument/2006/relationships/hyperlink" Target="https://github.com/Azure/portaldocs/tree/main/portal-sdk/generated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gatevnotes.com/uncovering-blade-names-and-parameters-azure-portal/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8.png"/><Relationship Id="rId7" Type="http://schemas.openxmlformats.org/officeDocument/2006/relationships/hyperlink" Target="https://learn.microsoft.com/en-us/azure/azure-resource-manager/bicep/modules#file-in-template-spec" TargetMode="Externa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4.png"/><Relationship Id="rId10" Type="http://schemas.openxmlformats.org/officeDocument/2006/relationships/image" Target="../media/image32.png"/><Relationship Id="rId4" Type="http://schemas.openxmlformats.org/officeDocument/2006/relationships/image" Target="../media/image13.png"/><Relationship Id="rId9" Type="http://schemas.openxmlformats.org/officeDocument/2006/relationships/image" Target="../media/image3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14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14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42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37.jpeg"/><Relationship Id="rId12" Type="http://schemas.openxmlformats.org/officeDocument/2006/relationships/image" Target="../media/image4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6" Type="http://schemas.openxmlformats.org/officeDocument/2006/relationships/image" Target="../media/image1.emf"/><Relationship Id="rId11" Type="http://schemas.openxmlformats.org/officeDocument/2006/relationships/image" Target="../media/image40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39.png"/><Relationship Id="rId4" Type="http://schemas.openxmlformats.org/officeDocument/2006/relationships/image" Target="../media/image36.png"/><Relationship Id="rId9" Type="http://schemas.openxmlformats.org/officeDocument/2006/relationships/image" Target="../media/image38.png"/><Relationship Id="rId14" Type="http://schemas.openxmlformats.org/officeDocument/2006/relationships/image" Target="../media/image43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8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5.png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7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5.png"/><Relationship Id="rId4" Type="http://schemas.openxmlformats.org/officeDocument/2006/relationships/image" Target="../media/image16.png"/><Relationship Id="rId9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43">
            <a:extLst>
              <a:ext uri="{FF2B5EF4-FFF2-40B4-BE49-F238E27FC236}">
                <a16:creationId xmlns:a16="http://schemas.microsoft.com/office/drawing/2014/main" id="{A3A27C55-E75A-9B9F-F55F-87FEA568A8F9}"/>
              </a:ext>
            </a:extLst>
          </p:cNvPr>
          <p:cNvPicPr>
            <a:picLocks noGrp="1" noChangeAspect="1"/>
          </p:cNvPicPr>
          <p:nvPr isPhoto="1"/>
        </p:nvPicPr>
        <p:blipFill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75759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rastructure As Code (</a:t>
            </a:r>
            <a:r>
              <a:rPr lang="en-US" dirty="0" err="1"/>
              <a:t>IaC</a:t>
            </a:r>
            <a:r>
              <a:rPr lang="en-US" dirty="0"/>
              <a:t>) via Catalog UI Form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Takes proven coding practices to continuously deliver infrastructure, and software running on it rapidly and at scale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0AAB136-8414-6A21-03A5-A9548743C734}"/>
              </a:ext>
            </a:extLst>
          </p:cNvPr>
          <p:cNvSpPr txBox="1">
            <a:spLocks/>
          </p:cNvSpPr>
          <p:nvPr/>
        </p:nvSpPr>
        <p:spPr>
          <a:xfrm>
            <a:off x="1107687" y="4644482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Pros</a:t>
            </a:r>
          </a:p>
          <a:p>
            <a:pPr>
              <a:buFontTx/>
              <a:buChar char="-"/>
            </a:pPr>
            <a:endParaRPr lang="en-US" sz="2000" dirty="0"/>
          </a:p>
          <a:p>
            <a:pPr>
              <a:buFontTx/>
              <a:buChar char="-"/>
            </a:pPr>
            <a:r>
              <a:rPr lang="en-US" sz="2000" dirty="0"/>
              <a:t>Triggerable from other systems (UX)</a:t>
            </a:r>
          </a:p>
          <a:p>
            <a:pPr>
              <a:buFontTx/>
              <a:buChar char="-"/>
            </a:pPr>
            <a:endParaRPr lang="en-US" sz="2000" dirty="0"/>
          </a:p>
          <a:p>
            <a:pPr>
              <a:buFontTx/>
              <a:buChar char="-"/>
            </a:pPr>
            <a:endParaRPr lang="en-US" sz="2000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EAB7573-B6B5-D04C-1A8F-E527D8F51F82}"/>
              </a:ext>
            </a:extLst>
          </p:cNvPr>
          <p:cNvSpPr txBox="1">
            <a:spLocks/>
          </p:cNvSpPr>
          <p:nvPr/>
        </p:nvSpPr>
        <p:spPr>
          <a:xfrm>
            <a:off x="8184243" y="4646341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Cons</a:t>
            </a:r>
          </a:p>
          <a:p>
            <a:pPr>
              <a:buFontTx/>
              <a:buChar char="-"/>
            </a:pPr>
            <a:r>
              <a:rPr lang="en-US" sz="2000" dirty="0"/>
              <a:t>Sub-optimal UX</a:t>
            </a:r>
          </a:p>
          <a:p>
            <a:pPr>
              <a:buFontTx/>
              <a:buChar char="-"/>
            </a:pPr>
            <a:r>
              <a:rPr lang="en-US" sz="2000" dirty="0"/>
              <a:t>Input errors</a:t>
            </a:r>
          </a:p>
          <a:p>
            <a:pPr>
              <a:buFontTx/>
              <a:buChar char="-"/>
            </a:pPr>
            <a:r>
              <a:rPr lang="en-US" sz="2000" dirty="0"/>
              <a:t>No change history</a:t>
            </a:r>
          </a:p>
          <a:p>
            <a:pPr>
              <a:buFontTx/>
              <a:buChar char="-"/>
            </a:pPr>
            <a:r>
              <a:rPr lang="en-US" sz="2000" dirty="0"/>
              <a:t>Single deployment identity masks the actor in azur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1437035" y="2648860"/>
            <a:ext cx="1571305" cy="1560279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2400" y="2447123"/>
            <a:ext cx="1963754" cy="1963754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1F45828B-8F5C-FF73-3C4B-A998B8DACF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5965" y="2364959"/>
            <a:ext cx="1064041" cy="1064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037AAB4F-B00B-7F7E-8EB1-FE647FD652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619" y="2368998"/>
            <a:ext cx="809625" cy="933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53478140-8BE6-5525-DF07-9358650A627B}"/>
              </a:ext>
            </a:extLst>
          </p:cNvPr>
          <p:cNvSpPr/>
          <p:nvPr/>
        </p:nvSpPr>
        <p:spPr>
          <a:xfrm>
            <a:off x="4360333" y="2172900"/>
            <a:ext cx="3398039" cy="4439567"/>
          </a:xfrm>
          <a:custGeom>
            <a:avLst/>
            <a:gdLst>
              <a:gd name="connsiteX0" fmla="*/ 0 w 3398039"/>
              <a:gd name="connsiteY0" fmla="*/ 566351 h 4439567"/>
              <a:gd name="connsiteX1" fmla="*/ 566351 w 3398039"/>
              <a:gd name="connsiteY1" fmla="*/ 0 h 4439567"/>
              <a:gd name="connsiteX2" fmla="*/ 1177992 w 3398039"/>
              <a:gd name="connsiteY2" fmla="*/ 0 h 4439567"/>
              <a:gd name="connsiteX3" fmla="*/ 1721673 w 3398039"/>
              <a:gd name="connsiteY3" fmla="*/ 0 h 4439567"/>
              <a:gd name="connsiteX4" fmla="*/ 2242700 w 3398039"/>
              <a:gd name="connsiteY4" fmla="*/ 0 h 4439567"/>
              <a:gd name="connsiteX5" fmla="*/ 2831688 w 3398039"/>
              <a:gd name="connsiteY5" fmla="*/ 0 h 4439567"/>
              <a:gd name="connsiteX6" fmla="*/ 3398039 w 3398039"/>
              <a:gd name="connsiteY6" fmla="*/ 566351 h 4439567"/>
              <a:gd name="connsiteX7" fmla="*/ 3398039 w 3398039"/>
              <a:gd name="connsiteY7" fmla="*/ 1117495 h 4439567"/>
              <a:gd name="connsiteX8" fmla="*/ 3398039 w 3398039"/>
              <a:gd name="connsiteY8" fmla="*/ 1734777 h 4439567"/>
              <a:gd name="connsiteX9" fmla="*/ 3398039 w 3398039"/>
              <a:gd name="connsiteY9" fmla="*/ 2186715 h 4439567"/>
              <a:gd name="connsiteX10" fmla="*/ 3398039 w 3398039"/>
              <a:gd name="connsiteY10" fmla="*/ 2737859 h 4439567"/>
              <a:gd name="connsiteX11" fmla="*/ 3398039 w 3398039"/>
              <a:gd name="connsiteY11" fmla="*/ 3289003 h 4439567"/>
              <a:gd name="connsiteX12" fmla="*/ 3398039 w 3398039"/>
              <a:gd name="connsiteY12" fmla="*/ 3873216 h 4439567"/>
              <a:gd name="connsiteX13" fmla="*/ 2831688 w 3398039"/>
              <a:gd name="connsiteY13" fmla="*/ 4439567 h 4439567"/>
              <a:gd name="connsiteX14" fmla="*/ 2265354 w 3398039"/>
              <a:gd name="connsiteY14" fmla="*/ 4439567 h 4439567"/>
              <a:gd name="connsiteX15" fmla="*/ 1699020 w 3398039"/>
              <a:gd name="connsiteY15" fmla="*/ 4439567 h 4439567"/>
              <a:gd name="connsiteX16" fmla="*/ 1087379 w 3398039"/>
              <a:gd name="connsiteY16" fmla="*/ 4439567 h 4439567"/>
              <a:gd name="connsiteX17" fmla="*/ 566351 w 3398039"/>
              <a:gd name="connsiteY17" fmla="*/ 4439567 h 4439567"/>
              <a:gd name="connsiteX18" fmla="*/ 0 w 3398039"/>
              <a:gd name="connsiteY18" fmla="*/ 3873216 h 4439567"/>
              <a:gd name="connsiteX19" fmla="*/ 0 w 3398039"/>
              <a:gd name="connsiteY19" fmla="*/ 3388209 h 4439567"/>
              <a:gd name="connsiteX20" fmla="*/ 0 w 3398039"/>
              <a:gd name="connsiteY20" fmla="*/ 2837065 h 4439567"/>
              <a:gd name="connsiteX21" fmla="*/ 0 w 3398039"/>
              <a:gd name="connsiteY21" fmla="*/ 2352058 h 4439567"/>
              <a:gd name="connsiteX22" fmla="*/ 0 w 3398039"/>
              <a:gd name="connsiteY22" fmla="*/ 1800914 h 4439567"/>
              <a:gd name="connsiteX23" fmla="*/ 0 w 3398039"/>
              <a:gd name="connsiteY23" fmla="*/ 1348976 h 4439567"/>
              <a:gd name="connsiteX24" fmla="*/ 0 w 3398039"/>
              <a:gd name="connsiteY24" fmla="*/ 566351 h 4439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398039" h="4439567" extrusionOk="0">
                <a:moveTo>
                  <a:pt x="0" y="566351"/>
                </a:moveTo>
                <a:cubicBezTo>
                  <a:pt x="-76067" y="206644"/>
                  <a:pt x="231372" y="8329"/>
                  <a:pt x="566351" y="0"/>
                </a:cubicBezTo>
                <a:cubicBezTo>
                  <a:pt x="833844" y="-49535"/>
                  <a:pt x="953828" y="12370"/>
                  <a:pt x="1177992" y="0"/>
                </a:cubicBezTo>
                <a:cubicBezTo>
                  <a:pt x="1402156" y="-12370"/>
                  <a:pt x="1536539" y="227"/>
                  <a:pt x="1721673" y="0"/>
                </a:cubicBezTo>
                <a:cubicBezTo>
                  <a:pt x="1906807" y="-227"/>
                  <a:pt x="2042981" y="58393"/>
                  <a:pt x="2242700" y="0"/>
                </a:cubicBezTo>
                <a:cubicBezTo>
                  <a:pt x="2442419" y="-58393"/>
                  <a:pt x="2646582" y="42609"/>
                  <a:pt x="2831688" y="0"/>
                </a:cubicBezTo>
                <a:cubicBezTo>
                  <a:pt x="3168158" y="-48740"/>
                  <a:pt x="3377527" y="250423"/>
                  <a:pt x="3398039" y="566351"/>
                </a:cubicBezTo>
                <a:cubicBezTo>
                  <a:pt x="3401742" y="790470"/>
                  <a:pt x="3337830" y="917709"/>
                  <a:pt x="3398039" y="1117495"/>
                </a:cubicBezTo>
                <a:cubicBezTo>
                  <a:pt x="3458248" y="1317281"/>
                  <a:pt x="3340064" y="1594357"/>
                  <a:pt x="3398039" y="1734777"/>
                </a:cubicBezTo>
                <a:cubicBezTo>
                  <a:pt x="3456014" y="1875197"/>
                  <a:pt x="3350133" y="1977297"/>
                  <a:pt x="3398039" y="2186715"/>
                </a:cubicBezTo>
                <a:cubicBezTo>
                  <a:pt x="3445945" y="2396133"/>
                  <a:pt x="3394383" y="2582143"/>
                  <a:pt x="3398039" y="2737859"/>
                </a:cubicBezTo>
                <a:cubicBezTo>
                  <a:pt x="3401695" y="2893575"/>
                  <a:pt x="3351725" y="3036007"/>
                  <a:pt x="3398039" y="3289003"/>
                </a:cubicBezTo>
                <a:cubicBezTo>
                  <a:pt x="3444353" y="3541999"/>
                  <a:pt x="3345411" y="3709151"/>
                  <a:pt x="3398039" y="3873216"/>
                </a:cubicBezTo>
                <a:cubicBezTo>
                  <a:pt x="3406096" y="4195872"/>
                  <a:pt x="3153123" y="4431996"/>
                  <a:pt x="2831688" y="4439567"/>
                </a:cubicBezTo>
                <a:cubicBezTo>
                  <a:pt x="2637195" y="4458346"/>
                  <a:pt x="2413494" y="4425147"/>
                  <a:pt x="2265354" y="4439567"/>
                </a:cubicBezTo>
                <a:cubicBezTo>
                  <a:pt x="2117214" y="4453987"/>
                  <a:pt x="1847594" y="4380829"/>
                  <a:pt x="1699020" y="4439567"/>
                </a:cubicBezTo>
                <a:cubicBezTo>
                  <a:pt x="1550446" y="4498305"/>
                  <a:pt x="1286219" y="4413214"/>
                  <a:pt x="1087379" y="4439567"/>
                </a:cubicBezTo>
                <a:cubicBezTo>
                  <a:pt x="888539" y="4465920"/>
                  <a:pt x="811548" y="4381863"/>
                  <a:pt x="566351" y="4439567"/>
                </a:cubicBezTo>
                <a:cubicBezTo>
                  <a:pt x="224116" y="4492221"/>
                  <a:pt x="24832" y="4204455"/>
                  <a:pt x="0" y="3873216"/>
                </a:cubicBezTo>
                <a:cubicBezTo>
                  <a:pt x="-39502" y="3705931"/>
                  <a:pt x="51549" y="3570122"/>
                  <a:pt x="0" y="3388209"/>
                </a:cubicBezTo>
                <a:cubicBezTo>
                  <a:pt x="-51549" y="3206296"/>
                  <a:pt x="29796" y="2983906"/>
                  <a:pt x="0" y="2837065"/>
                </a:cubicBezTo>
                <a:cubicBezTo>
                  <a:pt x="-29796" y="2690224"/>
                  <a:pt x="49643" y="2488496"/>
                  <a:pt x="0" y="2352058"/>
                </a:cubicBezTo>
                <a:cubicBezTo>
                  <a:pt x="-49643" y="2215620"/>
                  <a:pt x="26560" y="2025012"/>
                  <a:pt x="0" y="1800914"/>
                </a:cubicBezTo>
                <a:cubicBezTo>
                  <a:pt x="-26560" y="1576816"/>
                  <a:pt x="32594" y="1558009"/>
                  <a:pt x="0" y="1348976"/>
                </a:cubicBezTo>
                <a:cubicBezTo>
                  <a:pt x="-32594" y="1139943"/>
                  <a:pt x="78000" y="854396"/>
                  <a:pt x="0" y="566351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29527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rastructure management in </a:t>
            </a:r>
            <a:r>
              <a:rPr lang="en-US" b="1" dirty="0"/>
              <a:t>complex environm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4"/>
            <a:ext cx="11063515" cy="4183289"/>
          </a:xfrm>
        </p:spPr>
        <p:txBody>
          <a:bodyPr>
            <a:normAutofit lnSpcReduction="10000"/>
          </a:bodyPr>
          <a:lstStyle/>
          <a:p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Probably there are ton of other considerations, but the point is…</a:t>
            </a:r>
          </a:p>
          <a:p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There are Pros and Cons in every model…</a:t>
            </a:r>
          </a:p>
          <a:p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So hybrid approach might be necessary</a:t>
            </a:r>
          </a:p>
          <a:p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What if … there was a tool that fits all scenarios….</a:t>
            </a:r>
          </a:p>
          <a:p>
            <a:pPr lvl="1"/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supports Pipelines</a:t>
            </a:r>
          </a:p>
          <a:p>
            <a:pPr lvl="1"/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provides Rich UI</a:t>
            </a:r>
          </a:p>
          <a:p>
            <a:pPr lvl="1"/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Is reusable by other Templates</a:t>
            </a:r>
          </a:p>
          <a:p>
            <a:pPr lvl="1"/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Integrates with other systems via API</a:t>
            </a:r>
          </a:p>
          <a:p>
            <a:endParaRPr lang="en-US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>
              <a:buNone/>
            </a:pPr>
            <a:endParaRPr lang="en-US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>
              <a:buNone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Lets check Azure Template Specs…</a:t>
            </a:r>
          </a:p>
          <a:p>
            <a:pPr marL="0" indent="0">
              <a:buNone/>
            </a:pPr>
            <a:endParaRPr lang="en-US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>
              <a:buNone/>
            </a:pPr>
            <a:endParaRPr lang="en-US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02996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0778EFC-CC57-4EF6-89FF-014E742142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0778EFC-CC57-4EF6-89FF-014E742142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ángulo 6175">
            <a:extLst>
              <a:ext uri="{FF2B5EF4-FFF2-40B4-BE49-F238E27FC236}">
                <a16:creationId xmlns:a16="http://schemas.microsoft.com/office/drawing/2014/main" id="{86A51F14-CEC0-4873-B851-90AD5CCD0617}"/>
              </a:ext>
            </a:extLst>
          </p:cNvPr>
          <p:cNvSpPr/>
          <p:nvPr/>
        </p:nvSpPr>
        <p:spPr>
          <a:xfrm>
            <a:off x="7913" y="4500462"/>
            <a:ext cx="12214702" cy="2387600"/>
          </a:xfrm>
          <a:prstGeom prst="rect">
            <a:avLst/>
          </a:pr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任意多边形: 形状 16">
            <a:extLst>
              <a:ext uri="{FF2B5EF4-FFF2-40B4-BE49-F238E27FC236}">
                <a16:creationId xmlns:a16="http://schemas.microsoft.com/office/drawing/2014/main" id="{049CEE6A-F0A8-4DFA-9341-6025BABA637D}"/>
              </a:ext>
            </a:extLst>
          </p:cNvPr>
          <p:cNvSpPr/>
          <p:nvPr/>
        </p:nvSpPr>
        <p:spPr>
          <a:xfrm>
            <a:off x="0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7" name="Freeform 46">
            <a:extLst>
              <a:ext uri="{FF2B5EF4-FFF2-40B4-BE49-F238E27FC236}">
                <a16:creationId xmlns:a16="http://schemas.microsoft.com/office/drawing/2014/main" id="{6FF0B403-FADC-424A-A227-59D6B88F2456}"/>
              </a:ext>
            </a:extLst>
          </p:cNvPr>
          <p:cNvSpPr/>
          <p:nvPr/>
        </p:nvSpPr>
        <p:spPr>
          <a:xfrm>
            <a:off x="669963" y="1204256"/>
            <a:ext cx="6833921" cy="4449489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B2A14CA-B27E-4A65-85F3-621B5BA14675}"/>
              </a:ext>
            </a:extLst>
          </p:cNvPr>
          <p:cNvSpPr/>
          <p:nvPr/>
        </p:nvSpPr>
        <p:spPr>
          <a:xfrm>
            <a:off x="1104477" y="0"/>
            <a:ext cx="1175537" cy="1385657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F1280CC-AF01-4FA6-9B49-8F44EB574ACE}"/>
              </a:ext>
            </a:extLst>
          </p:cNvPr>
          <p:cNvSpPr/>
          <p:nvPr/>
        </p:nvSpPr>
        <p:spPr>
          <a:xfrm>
            <a:off x="1104477" y="769023"/>
            <a:ext cx="1175537" cy="1175537"/>
          </a:xfrm>
          <a:prstGeom prst="ellipse">
            <a:avLst/>
          </a:prstGeom>
          <a:solidFill>
            <a:srgbClr val="D0101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EF99D574-3FCD-4173-937D-0FA446AEB9D2}"/>
              </a:ext>
            </a:extLst>
          </p:cNvPr>
          <p:cNvSpPr/>
          <p:nvPr/>
        </p:nvSpPr>
        <p:spPr>
          <a:xfrm>
            <a:off x="1324575" y="991834"/>
            <a:ext cx="729915" cy="72991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任意多边形: 形状 16">
            <a:extLst>
              <a:ext uri="{FF2B5EF4-FFF2-40B4-BE49-F238E27FC236}">
                <a16:creationId xmlns:a16="http://schemas.microsoft.com/office/drawing/2014/main" id="{CD17D5EF-C3CA-430D-8D78-9B7A4A92E88A}"/>
              </a:ext>
            </a:extLst>
          </p:cNvPr>
          <p:cNvSpPr/>
          <p:nvPr/>
        </p:nvSpPr>
        <p:spPr>
          <a:xfrm rot="16200000">
            <a:off x="8077322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任意多边形: 形状 16">
            <a:extLst>
              <a:ext uri="{FF2B5EF4-FFF2-40B4-BE49-F238E27FC236}">
                <a16:creationId xmlns:a16="http://schemas.microsoft.com/office/drawing/2014/main" id="{CC5943E8-7862-4DAC-87C4-7F35D6FBC9CD}"/>
              </a:ext>
            </a:extLst>
          </p:cNvPr>
          <p:cNvSpPr/>
          <p:nvPr/>
        </p:nvSpPr>
        <p:spPr>
          <a:xfrm rot="16200000">
            <a:off x="8077322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Rectángulo 6175">
            <a:extLst>
              <a:ext uri="{FF2B5EF4-FFF2-40B4-BE49-F238E27FC236}">
                <a16:creationId xmlns:a16="http://schemas.microsoft.com/office/drawing/2014/main" id="{8B9CA6E7-7271-4C1A-9106-2069F65592DD}"/>
              </a:ext>
            </a:extLst>
          </p:cNvPr>
          <p:cNvSpPr/>
          <p:nvPr/>
        </p:nvSpPr>
        <p:spPr>
          <a:xfrm>
            <a:off x="9681028" y="0"/>
            <a:ext cx="2533673" cy="68580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ángulo 6175">
            <a:extLst>
              <a:ext uri="{FF2B5EF4-FFF2-40B4-BE49-F238E27FC236}">
                <a16:creationId xmlns:a16="http://schemas.microsoft.com/office/drawing/2014/main" id="{63057CCC-8D68-4B3B-A6A3-B3A9F797FE6D}"/>
              </a:ext>
            </a:extLst>
          </p:cNvPr>
          <p:cNvSpPr/>
          <p:nvPr/>
        </p:nvSpPr>
        <p:spPr>
          <a:xfrm>
            <a:off x="11829143" y="0"/>
            <a:ext cx="385557" cy="6858000"/>
          </a:xfrm>
          <a:prstGeom prst="rect">
            <a:avLst/>
          </a:pr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任意多边形: 形状 16">
            <a:extLst>
              <a:ext uri="{FF2B5EF4-FFF2-40B4-BE49-F238E27FC236}">
                <a16:creationId xmlns:a16="http://schemas.microsoft.com/office/drawing/2014/main" id="{BFC38C69-061C-4D96-8765-E5AE867E3A82}"/>
              </a:ext>
            </a:extLst>
          </p:cNvPr>
          <p:cNvSpPr/>
          <p:nvPr/>
        </p:nvSpPr>
        <p:spPr>
          <a:xfrm rot="16200000">
            <a:off x="10254466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任意多边形: 形状 16">
            <a:extLst>
              <a:ext uri="{FF2B5EF4-FFF2-40B4-BE49-F238E27FC236}">
                <a16:creationId xmlns:a16="http://schemas.microsoft.com/office/drawing/2014/main" id="{1FE673F1-E8EA-4A14-BD79-3511A9C956BC}"/>
              </a:ext>
            </a:extLst>
          </p:cNvPr>
          <p:cNvSpPr/>
          <p:nvPr/>
        </p:nvSpPr>
        <p:spPr>
          <a:xfrm rot="16200000">
            <a:off x="10254466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Freeform 46">
            <a:extLst>
              <a:ext uri="{FF2B5EF4-FFF2-40B4-BE49-F238E27FC236}">
                <a16:creationId xmlns:a16="http://schemas.microsoft.com/office/drawing/2014/main" id="{69D15F79-29F9-45CC-9D3C-E64A8C4AE0FA}"/>
              </a:ext>
            </a:extLst>
          </p:cNvPr>
          <p:cNvSpPr/>
          <p:nvPr/>
        </p:nvSpPr>
        <p:spPr>
          <a:xfrm>
            <a:off x="6666889" y="1204256"/>
            <a:ext cx="5547811" cy="4449489"/>
          </a:xfrm>
          <a:custGeom>
            <a:avLst/>
            <a:gdLst>
              <a:gd name="connsiteX0" fmla="*/ 741596 w 6762750"/>
              <a:gd name="connsiteY0" fmla="*/ 0 h 4449489"/>
              <a:gd name="connsiteX1" fmla="*/ 6762750 w 6762750"/>
              <a:gd name="connsiteY1" fmla="*/ 0 h 4449489"/>
              <a:gd name="connsiteX2" fmla="*/ 6762750 w 6762750"/>
              <a:gd name="connsiteY2" fmla="*/ 4449489 h 4449489"/>
              <a:gd name="connsiteX3" fmla="*/ 741596 w 6762750"/>
              <a:gd name="connsiteY3" fmla="*/ 4449489 h 4449489"/>
              <a:gd name="connsiteX4" fmla="*/ 0 w 6762750"/>
              <a:gd name="connsiteY4" fmla="*/ 3707893 h 4449489"/>
              <a:gd name="connsiteX5" fmla="*/ 0 w 6762750"/>
              <a:gd name="connsiteY5" fmla="*/ 741596 h 4449489"/>
              <a:gd name="connsiteX6" fmla="*/ 741596 w 6762750"/>
              <a:gd name="connsiteY6" fmla="*/ 0 h 4449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62750" h="4449489">
                <a:moveTo>
                  <a:pt x="741596" y="0"/>
                </a:moveTo>
                <a:lnTo>
                  <a:pt x="6762750" y="0"/>
                </a:lnTo>
                <a:lnTo>
                  <a:pt x="6762750" y="4449489"/>
                </a:lnTo>
                <a:lnTo>
                  <a:pt x="741596" y="4449489"/>
                </a:lnTo>
                <a:cubicBezTo>
                  <a:pt x="332024" y="4449489"/>
                  <a:pt x="0" y="4117465"/>
                  <a:pt x="0" y="3707893"/>
                </a:cubicBezTo>
                <a:lnTo>
                  <a:pt x="0" y="741596"/>
                </a:lnTo>
                <a:cubicBezTo>
                  <a:pt x="0" y="332024"/>
                  <a:pt x="332024" y="0"/>
                  <a:pt x="741596" y="0"/>
                </a:cubicBez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A1F34D-EB98-4CAD-A1DE-7AC573B10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3613" y="2184696"/>
            <a:ext cx="4303725" cy="741568"/>
          </a:xfrm>
        </p:spPr>
        <p:txBody>
          <a:bodyPr lIns="0" rIns="0">
            <a:normAutofit fontScale="90000"/>
          </a:bodyPr>
          <a:lstStyle/>
          <a:p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 Template Spec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0C835E6-5275-478D-B06E-63B529F28218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8EDDE3A-9B37-43A6-8AC5-022DDD0AA58E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0B669C6-75C7-488F-90E7-B0037991E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53" name="Picture 52" descr="Background pattern&#10;&#10;Description automatically generated">
            <a:extLst>
              <a:ext uri="{FF2B5EF4-FFF2-40B4-BE49-F238E27FC236}">
                <a16:creationId xmlns:a16="http://schemas.microsoft.com/office/drawing/2014/main" id="{E1377084-21E0-42A7-B144-A69CF5A6D83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92413" y="1385657"/>
            <a:ext cx="5322288" cy="4021639"/>
          </a:xfrm>
          <a:custGeom>
            <a:avLst/>
            <a:gdLst>
              <a:gd name="connsiteX0" fmla="*/ 655598 w 5978515"/>
              <a:gd name="connsiteY0" fmla="*/ 0 h 4021639"/>
              <a:gd name="connsiteX1" fmla="*/ 5978515 w 5978515"/>
              <a:gd name="connsiteY1" fmla="*/ 0 h 4021639"/>
              <a:gd name="connsiteX2" fmla="*/ 5978515 w 5978515"/>
              <a:gd name="connsiteY2" fmla="*/ 4021639 h 4021639"/>
              <a:gd name="connsiteX3" fmla="*/ 655598 w 5978515"/>
              <a:gd name="connsiteY3" fmla="*/ 4021639 h 4021639"/>
              <a:gd name="connsiteX4" fmla="*/ 0 w 5978515"/>
              <a:gd name="connsiteY4" fmla="*/ 3351353 h 4021639"/>
              <a:gd name="connsiteX5" fmla="*/ 0 w 5978515"/>
              <a:gd name="connsiteY5" fmla="*/ 670286 h 4021639"/>
              <a:gd name="connsiteX6" fmla="*/ 655598 w 5978515"/>
              <a:gd name="connsiteY6" fmla="*/ 0 h 4021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78515" h="4021639">
                <a:moveTo>
                  <a:pt x="655598" y="0"/>
                </a:moveTo>
                <a:lnTo>
                  <a:pt x="5978515" y="0"/>
                </a:lnTo>
                <a:lnTo>
                  <a:pt x="5978515" y="4021639"/>
                </a:lnTo>
                <a:lnTo>
                  <a:pt x="655598" y="4021639"/>
                </a:lnTo>
                <a:cubicBezTo>
                  <a:pt x="293521" y="4021639"/>
                  <a:pt x="0" y="3721542"/>
                  <a:pt x="0" y="3351353"/>
                </a:cubicBezTo>
                <a:lnTo>
                  <a:pt x="0" y="670286"/>
                </a:lnTo>
                <a:cubicBezTo>
                  <a:pt x="0" y="300098"/>
                  <a:pt x="293521" y="0"/>
                  <a:pt x="655598" y="0"/>
                </a:cubicBezTo>
                <a:close/>
              </a:path>
            </a:pathLst>
          </a:cu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09971475-858B-487D-8875-A846C5AC2D16}"/>
              </a:ext>
            </a:extLst>
          </p:cNvPr>
          <p:cNvGrpSpPr/>
          <p:nvPr/>
        </p:nvGrpSpPr>
        <p:grpSpPr>
          <a:xfrm>
            <a:off x="1495252" y="1172799"/>
            <a:ext cx="388560" cy="367985"/>
            <a:chOff x="2805113" y="2247901"/>
            <a:chExt cx="779462" cy="738188"/>
          </a:xfrm>
          <a:effectLst>
            <a:outerShdw dist="635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8" name="Freeform 78">
              <a:extLst>
                <a:ext uri="{FF2B5EF4-FFF2-40B4-BE49-F238E27FC236}">
                  <a16:creationId xmlns:a16="http://schemas.microsoft.com/office/drawing/2014/main" id="{B7664ACB-8C2A-436E-89EA-05BADF299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6725" y="2247901"/>
              <a:ext cx="577850" cy="738188"/>
            </a:xfrm>
            <a:custGeom>
              <a:avLst/>
              <a:gdLst>
                <a:gd name="T0" fmla="*/ 115 w 153"/>
                <a:gd name="T1" fmla="*/ 0 h 195"/>
                <a:gd name="T2" fmla="*/ 6 w 153"/>
                <a:gd name="T3" fmla="*/ 0 h 195"/>
                <a:gd name="T4" fmla="*/ 0 w 153"/>
                <a:gd name="T5" fmla="*/ 7 h 195"/>
                <a:gd name="T6" fmla="*/ 0 w 153"/>
                <a:gd name="T7" fmla="*/ 195 h 195"/>
                <a:gd name="T8" fmla="*/ 153 w 153"/>
                <a:gd name="T9" fmla="*/ 195 h 195"/>
                <a:gd name="T10" fmla="*/ 153 w 153"/>
                <a:gd name="T11" fmla="*/ 39 h 195"/>
                <a:gd name="T12" fmla="*/ 115 w 153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195">
                  <a:moveTo>
                    <a:pt x="11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153" y="195"/>
                    <a:pt x="153" y="195"/>
                    <a:pt x="153" y="195"/>
                  </a:cubicBezTo>
                  <a:cubicBezTo>
                    <a:pt x="153" y="39"/>
                    <a:pt x="153" y="39"/>
                    <a:pt x="153" y="39"/>
                  </a:cubicBezTo>
                  <a:lnTo>
                    <a:pt x="1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79">
              <a:extLst>
                <a:ext uri="{FF2B5EF4-FFF2-40B4-BE49-F238E27FC236}">
                  <a16:creationId xmlns:a16="http://schemas.microsoft.com/office/drawing/2014/main" id="{D93500A6-717D-481E-8FE5-C94376441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1700" y="2247901"/>
              <a:ext cx="142875" cy="147638"/>
            </a:xfrm>
            <a:custGeom>
              <a:avLst/>
              <a:gdLst>
                <a:gd name="T0" fmla="*/ 0 w 90"/>
                <a:gd name="T1" fmla="*/ 0 h 93"/>
                <a:gd name="T2" fmla="*/ 0 w 90"/>
                <a:gd name="T3" fmla="*/ 93 h 93"/>
                <a:gd name="T4" fmla="*/ 90 w 90"/>
                <a:gd name="T5" fmla="*/ 93 h 93"/>
                <a:gd name="T6" fmla="*/ 0 w 90"/>
                <a:gd name="T7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93">
                  <a:moveTo>
                    <a:pt x="0" y="0"/>
                  </a:moveTo>
                  <a:lnTo>
                    <a:pt x="0" y="93"/>
                  </a:lnTo>
                  <a:lnTo>
                    <a:pt x="90" y="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80">
              <a:extLst>
                <a:ext uri="{FF2B5EF4-FFF2-40B4-BE49-F238E27FC236}">
                  <a16:creationId xmlns:a16="http://schemas.microsoft.com/office/drawing/2014/main" id="{F83B5C6C-2A4B-4C64-BA1F-7B4883CCD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419351"/>
              <a:ext cx="242888" cy="22225"/>
            </a:xfrm>
            <a:custGeom>
              <a:avLst/>
              <a:gdLst>
                <a:gd name="T0" fmla="*/ 64 w 64"/>
                <a:gd name="T1" fmla="*/ 3 h 6"/>
                <a:gd name="T2" fmla="*/ 61 w 64"/>
                <a:gd name="T3" fmla="*/ 6 h 6"/>
                <a:gd name="T4" fmla="*/ 4 w 64"/>
                <a:gd name="T5" fmla="*/ 6 h 6"/>
                <a:gd name="T6" fmla="*/ 0 w 64"/>
                <a:gd name="T7" fmla="*/ 3 h 6"/>
                <a:gd name="T8" fmla="*/ 4 w 64"/>
                <a:gd name="T9" fmla="*/ 0 h 6"/>
                <a:gd name="T10" fmla="*/ 61 w 64"/>
                <a:gd name="T11" fmla="*/ 0 h 6"/>
                <a:gd name="T12" fmla="*/ 64 w 6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">
                  <a:moveTo>
                    <a:pt x="64" y="3"/>
                  </a:moveTo>
                  <a:cubicBezTo>
                    <a:pt x="64" y="5"/>
                    <a:pt x="63" y="6"/>
                    <a:pt x="61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4" y="1"/>
                    <a:pt x="6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81">
              <a:extLst>
                <a:ext uri="{FF2B5EF4-FFF2-40B4-BE49-F238E27FC236}">
                  <a16:creationId xmlns:a16="http://schemas.microsoft.com/office/drawing/2014/main" id="{05AD84B9-7AA3-44B9-B394-B0D64F4485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516188"/>
              <a:ext cx="390525" cy="23813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82">
              <a:extLst>
                <a:ext uri="{FF2B5EF4-FFF2-40B4-BE49-F238E27FC236}">
                  <a16:creationId xmlns:a16="http://schemas.microsoft.com/office/drawing/2014/main" id="{8CDBE542-6281-41A8-9DEB-B4824C2CC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611438"/>
              <a:ext cx="390525" cy="26988"/>
            </a:xfrm>
            <a:custGeom>
              <a:avLst/>
              <a:gdLst>
                <a:gd name="T0" fmla="*/ 103 w 103"/>
                <a:gd name="T1" fmla="*/ 3 h 7"/>
                <a:gd name="T2" fmla="*/ 100 w 103"/>
                <a:gd name="T3" fmla="*/ 7 h 7"/>
                <a:gd name="T4" fmla="*/ 4 w 103"/>
                <a:gd name="T5" fmla="*/ 7 h 7"/>
                <a:gd name="T6" fmla="*/ 0 w 103"/>
                <a:gd name="T7" fmla="*/ 3 h 7"/>
                <a:gd name="T8" fmla="*/ 4 w 103"/>
                <a:gd name="T9" fmla="*/ 0 h 7"/>
                <a:gd name="T10" fmla="*/ 100 w 103"/>
                <a:gd name="T11" fmla="*/ 0 h 7"/>
                <a:gd name="T12" fmla="*/ 103 w 103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7">
                  <a:moveTo>
                    <a:pt x="103" y="3"/>
                  </a:moveTo>
                  <a:cubicBezTo>
                    <a:pt x="103" y="5"/>
                    <a:pt x="101" y="7"/>
                    <a:pt x="100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2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83">
              <a:extLst>
                <a:ext uri="{FF2B5EF4-FFF2-40B4-BE49-F238E27FC236}">
                  <a16:creationId xmlns:a16="http://schemas.microsoft.com/office/drawing/2014/main" id="{00B99341-F351-46D3-984D-438D2C3901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709863"/>
              <a:ext cx="390525" cy="22225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84">
              <a:extLst>
                <a:ext uri="{FF2B5EF4-FFF2-40B4-BE49-F238E27FC236}">
                  <a16:creationId xmlns:a16="http://schemas.microsoft.com/office/drawing/2014/main" id="{355432A7-AEFA-47F1-B0A0-1345637B0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530225" cy="530225"/>
            </a:xfrm>
            <a:custGeom>
              <a:avLst/>
              <a:gdLst>
                <a:gd name="T0" fmla="*/ 131 w 140"/>
                <a:gd name="T1" fmla="*/ 90 h 140"/>
                <a:gd name="T2" fmla="*/ 51 w 140"/>
                <a:gd name="T3" fmla="*/ 11 h 140"/>
                <a:gd name="T4" fmla="*/ 49 w 140"/>
                <a:gd name="T5" fmla="*/ 9 h 140"/>
                <a:gd name="T6" fmla="*/ 11 w 140"/>
                <a:gd name="T7" fmla="*/ 11 h 140"/>
                <a:gd name="T8" fmla="*/ 11 w 140"/>
                <a:gd name="T9" fmla="*/ 11 h 140"/>
                <a:gd name="T10" fmla="*/ 9 w 140"/>
                <a:gd name="T11" fmla="*/ 49 h 140"/>
                <a:gd name="T12" fmla="*/ 11 w 140"/>
                <a:gd name="T13" fmla="*/ 52 h 140"/>
                <a:gd name="T14" fmla="*/ 90 w 140"/>
                <a:gd name="T15" fmla="*/ 131 h 140"/>
                <a:gd name="T16" fmla="*/ 122 w 140"/>
                <a:gd name="T17" fmla="*/ 140 h 140"/>
                <a:gd name="T18" fmla="*/ 129 w 140"/>
                <a:gd name="T19" fmla="*/ 129 h 140"/>
                <a:gd name="T20" fmla="*/ 140 w 140"/>
                <a:gd name="T21" fmla="*/ 122 h 140"/>
                <a:gd name="T22" fmla="*/ 131 w 140"/>
                <a:gd name="T23" fmla="*/ 9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0" h="140">
                  <a:moveTo>
                    <a:pt x="131" y="90"/>
                  </a:moveTo>
                  <a:cubicBezTo>
                    <a:pt x="51" y="11"/>
                    <a:pt x="51" y="11"/>
                    <a:pt x="51" y="11"/>
                  </a:cubicBezTo>
                  <a:cubicBezTo>
                    <a:pt x="51" y="10"/>
                    <a:pt x="50" y="10"/>
                    <a:pt x="49" y="9"/>
                  </a:cubicBezTo>
                  <a:cubicBezTo>
                    <a:pt x="38" y="0"/>
                    <a:pt x="22" y="0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0" y="22"/>
                    <a:pt x="0" y="38"/>
                    <a:pt x="9" y="49"/>
                  </a:cubicBezTo>
                  <a:cubicBezTo>
                    <a:pt x="9" y="50"/>
                    <a:pt x="10" y="51"/>
                    <a:pt x="11" y="52"/>
                  </a:cubicBezTo>
                  <a:cubicBezTo>
                    <a:pt x="90" y="131"/>
                    <a:pt x="90" y="131"/>
                    <a:pt x="90" y="13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3" y="136"/>
                    <a:pt x="125" y="132"/>
                    <a:pt x="129" y="129"/>
                  </a:cubicBezTo>
                  <a:cubicBezTo>
                    <a:pt x="132" y="126"/>
                    <a:pt x="136" y="123"/>
                    <a:pt x="140" y="122"/>
                  </a:cubicBezTo>
                  <a:lnTo>
                    <a:pt x="131" y="90"/>
                  </a:lnTo>
                  <a:close/>
                </a:path>
              </a:pathLst>
            </a:custGeom>
            <a:solidFill>
              <a:srgbClr val="F4D0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85">
              <a:extLst>
                <a:ext uri="{FF2B5EF4-FFF2-40B4-BE49-F238E27FC236}">
                  <a16:creationId xmlns:a16="http://schemas.microsoft.com/office/drawing/2014/main" id="{54DA4313-77E3-457F-8833-0662FC75B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185738" cy="185738"/>
            </a:xfrm>
            <a:custGeom>
              <a:avLst/>
              <a:gdLst>
                <a:gd name="T0" fmla="*/ 49 w 49"/>
                <a:gd name="T1" fmla="*/ 9 h 49"/>
                <a:gd name="T2" fmla="*/ 9 w 49"/>
                <a:gd name="T3" fmla="*/ 49 h 49"/>
                <a:gd name="T4" fmla="*/ 11 w 49"/>
                <a:gd name="T5" fmla="*/ 11 h 49"/>
                <a:gd name="T6" fmla="*/ 11 w 49"/>
                <a:gd name="T7" fmla="*/ 11 h 49"/>
                <a:gd name="T8" fmla="*/ 49 w 49"/>
                <a:gd name="T9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9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0" y="38"/>
                    <a:pt x="0" y="2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2" y="0"/>
                    <a:pt x="38" y="0"/>
                    <a:pt x="49" y="9"/>
                  </a:cubicBezTo>
                  <a:close/>
                </a:path>
              </a:pathLst>
            </a:custGeom>
            <a:solidFill>
              <a:srgbClr val="F7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86">
              <a:extLst>
                <a:ext uri="{FF2B5EF4-FFF2-40B4-BE49-F238E27FC236}">
                  <a16:creationId xmlns:a16="http://schemas.microsoft.com/office/drawing/2014/main" id="{614328DC-CA57-42F5-BE0C-7B5D3BB29E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075" y="2800351"/>
              <a:ext cx="90488" cy="90488"/>
            </a:xfrm>
            <a:custGeom>
              <a:avLst/>
              <a:gdLst>
                <a:gd name="T0" fmla="*/ 18 w 24"/>
                <a:gd name="T1" fmla="*/ 0 h 24"/>
                <a:gd name="T2" fmla="*/ 24 w 24"/>
                <a:gd name="T3" fmla="*/ 21 h 24"/>
                <a:gd name="T4" fmla="*/ 20 w 24"/>
                <a:gd name="T5" fmla="*/ 24 h 24"/>
                <a:gd name="T6" fmla="*/ 0 w 24"/>
                <a:gd name="T7" fmla="*/ 18 h 24"/>
                <a:gd name="T8" fmla="*/ 7 w 24"/>
                <a:gd name="T9" fmla="*/ 7 h 24"/>
                <a:gd name="T10" fmla="*/ 18 w 24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18" y="0"/>
                  </a:moveTo>
                  <a:cubicBezTo>
                    <a:pt x="24" y="21"/>
                    <a:pt x="24" y="21"/>
                    <a:pt x="24" y="21"/>
                  </a:cubicBezTo>
                  <a:cubicBezTo>
                    <a:pt x="24" y="23"/>
                    <a:pt x="22" y="24"/>
                    <a:pt x="20" y="2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4"/>
                    <a:pt x="3" y="10"/>
                    <a:pt x="7" y="7"/>
                  </a:cubicBezTo>
                  <a:cubicBezTo>
                    <a:pt x="10" y="4"/>
                    <a:pt x="14" y="1"/>
                    <a:pt x="18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87">
              <a:extLst>
                <a:ext uri="{FF2B5EF4-FFF2-40B4-BE49-F238E27FC236}">
                  <a16:creationId xmlns:a16="http://schemas.microsoft.com/office/drawing/2014/main" id="{6EC70ED2-58A2-4F0D-AB74-2621F9D02B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03476"/>
              <a:ext cx="434975" cy="427038"/>
            </a:xfrm>
            <a:custGeom>
              <a:avLst/>
              <a:gdLst>
                <a:gd name="T0" fmla="*/ 114 w 115"/>
                <a:gd name="T1" fmla="*/ 73 h 113"/>
                <a:gd name="T2" fmla="*/ 41 w 115"/>
                <a:gd name="T3" fmla="*/ 0 h 113"/>
                <a:gd name="T4" fmla="*/ 0 w 115"/>
                <a:gd name="T5" fmla="*/ 40 h 113"/>
                <a:gd name="T6" fmla="*/ 0 w 115"/>
                <a:gd name="T7" fmla="*/ 40 h 113"/>
                <a:gd name="T8" fmla="*/ 73 w 115"/>
                <a:gd name="T9" fmla="*/ 113 h 113"/>
                <a:gd name="T10" fmla="*/ 73 w 115"/>
                <a:gd name="T11" fmla="*/ 113 h 113"/>
                <a:gd name="T12" fmla="*/ 76 w 115"/>
                <a:gd name="T13" fmla="*/ 95 h 113"/>
                <a:gd name="T14" fmla="*/ 94 w 115"/>
                <a:gd name="T15" fmla="*/ 94 h 113"/>
                <a:gd name="T16" fmla="*/ 94 w 115"/>
                <a:gd name="T17" fmla="*/ 93 h 113"/>
                <a:gd name="T18" fmla="*/ 94 w 115"/>
                <a:gd name="T19" fmla="*/ 93 h 113"/>
                <a:gd name="T20" fmla="*/ 96 w 115"/>
                <a:gd name="T21" fmla="*/ 74 h 113"/>
                <a:gd name="T22" fmla="*/ 114 w 115"/>
                <a:gd name="T23" fmla="*/ 73 h 113"/>
                <a:gd name="T24" fmla="*/ 114 w 115"/>
                <a:gd name="T25" fmla="*/ 73 h 113"/>
                <a:gd name="T26" fmla="*/ 114 w 115"/>
                <a:gd name="T27" fmla="*/ 7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113">
                  <a:moveTo>
                    <a:pt x="114" y="73"/>
                  </a:moveTo>
                  <a:cubicBezTo>
                    <a:pt x="108" y="67"/>
                    <a:pt x="41" y="0"/>
                    <a:pt x="41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64" y="104"/>
                    <a:pt x="73" y="113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0" y="108"/>
                    <a:pt x="71" y="100"/>
                    <a:pt x="76" y="95"/>
                  </a:cubicBezTo>
                  <a:cubicBezTo>
                    <a:pt x="81" y="90"/>
                    <a:pt x="89" y="90"/>
                    <a:pt x="94" y="94"/>
                  </a:cubicBezTo>
                  <a:cubicBezTo>
                    <a:pt x="94" y="94"/>
                    <a:pt x="94" y="94"/>
                    <a:pt x="94" y="93"/>
                  </a:cubicBezTo>
                  <a:cubicBezTo>
                    <a:pt x="94" y="93"/>
                    <a:pt x="94" y="93"/>
                    <a:pt x="94" y="93"/>
                  </a:cubicBezTo>
                  <a:cubicBezTo>
                    <a:pt x="90" y="88"/>
                    <a:pt x="90" y="80"/>
                    <a:pt x="96" y="74"/>
                  </a:cubicBezTo>
                  <a:cubicBezTo>
                    <a:pt x="101" y="69"/>
                    <a:pt x="109" y="69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5" y="73"/>
                    <a:pt x="115" y="73"/>
                    <a:pt x="114" y="73"/>
                  </a:cubicBez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88">
              <a:extLst>
                <a:ext uri="{FF2B5EF4-FFF2-40B4-BE49-F238E27FC236}">
                  <a16:creationId xmlns:a16="http://schemas.microsoft.com/office/drawing/2014/main" id="{A6DF8AC2-542F-4D2D-8215-43A775290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038" y="2373313"/>
              <a:ext cx="180975" cy="180975"/>
            </a:xfrm>
            <a:custGeom>
              <a:avLst/>
              <a:gdLst>
                <a:gd name="T0" fmla="*/ 17 w 114"/>
                <a:gd name="T1" fmla="*/ 114 h 114"/>
                <a:gd name="T2" fmla="*/ 0 w 114"/>
                <a:gd name="T3" fmla="*/ 98 h 114"/>
                <a:gd name="T4" fmla="*/ 95 w 114"/>
                <a:gd name="T5" fmla="*/ 0 h 114"/>
                <a:gd name="T6" fmla="*/ 114 w 114"/>
                <a:gd name="T7" fmla="*/ 19 h 114"/>
                <a:gd name="T8" fmla="*/ 17 w 114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14">
                  <a:moveTo>
                    <a:pt x="17" y="114"/>
                  </a:moveTo>
                  <a:lnTo>
                    <a:pt x="0" y="98"/>
                  </a:lnTo>
                  <a:lnTo>
                    <a:pt x="95" y="0"/>
                  </a:lnTo>
                  <a:lnTo>
                    <a:pt x="114" y="19"/>
                  </a:lnTo>
                  <a:lnTo>
                    <a:pt x="17" y="114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89">
              <a:extLst>
                <a:ext uri="{FF2B5EF4-FFF2-40B4-BE49-F238E27FC236}">
                  <a16:creationId xmlns:a16="http://schemas.microsoft.com/office/drawing/2014/main" id="{CC3503D2-7FCA-415E-8388-238A74A3A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79676"/>
              <a:ext cx="355600" cy="350838"/>
            </a:xfrm>
            <a:custGeom>
              <a:avLst/>
              <a:gdLst>
                <a:gd name="T0" fmla="*/ 0 w 94"/>
                <a:gd name="T1" fmla="*/ 20 h 93"/>
                <a:gd name="T2" fmla="*/ 73 w 94"/>
                <a:gd name="T3" fmla="*/ 93 h 93"/>
                <a:gd name="T4" fmla="*/ 73 w 94"/>
                <a:gd name="T5" fmla="*/ 93 h 93"/>
                <a:gd name="T6" fmla="*/ 76 w 94"/>
                <a:gd name="T7" fmla="*/ 75 h 93"/>
                <a:gd name="T8" fmla="*/ 94 w 94"/>
                <a:gd name="T9" fmla="*/ 74 h 93"/>
                <a:gd name="T10" fmla="*/ 94 w 94"/>
                <a:gd name="T11" fmla="*/ 73 h 93"/>
                <a:gd name="T12" fmla="*/ 21 w 94"/>
                <a:gd name="T13" fmla="*/ 0 h 93"/>
                <a:gd name="T14" fmla="*/ 0 w 94"/>
                <a:gd name="T15" fmla="*/ 2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93">
                  <a:moveTo>
                    <a:pt x="0" y="20"/>
                  </a:moveTo>
                  <a:cubicBezTo>
                    <a:pt x="0" y="20"/>
                    <a:pt x="64" y="84"/>
                    <a:pt x="73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0" y="88"/>
                    <a:pt x="71" y="80"/>
                    <a:pt x="76" y="75"/>
                  </a:cubicBezTo>
                  <a:cubicBezTo>
                    <a:pt x="81" y="70"/>
                    <a:pt x="89" y="70"/>
                    <a:pt x="94" y="74"/>
                  </a:cubicBezTo>
                  <a:cubicBezTo>
                    <a:pt x="94" y="74"/>
                    <a:pt x="94" y="73"/>
                    <a:pt x="94" y="73"/>
                  </a:cubicBezTo>
                  <a:cubicBezTo>
                    <a:pt x="21" y="0"/>
                    <a:pt x="21" y="0"/>
                    <a:pt x="21" y="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9" name="Title 1">
            <a:extLst>
              <a:ext uri="{FF2B5EF4-FFF2-40B4-BE49-F238E27FC236}">
                <a16:creationId xmlns:a16="http://schemas.microsoft.com/office/drawing/2014/main" id="{01381D6B-0A38-4E06-8506-A342F6A017DB}"/>
              </a:ext>
            </a:extLst>
          </p:cNvPr>
          <p:cNvSpPr txBox="1">
            <a:spLocks/>
          </p:cNvSpPr>
          <p:nvPr/>
        </p:nvSpPr>
        <p:spPr>
          <a:xfrm>
            <a:off x="1104477" y="3400111"/>
            <a:ext cx="4303725" cy="13102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Template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User Interface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b="0" dirty="0">
                <a:latin typeface="Segoe UI" panose="020B0502040204020203" pitchFamily="34" charset="0"/>
                <a:cs typeface="Segoe UI" panose="020B0502040204020203" pitchFamily="34" charset="0"/>
              </a:rPr>
              <a:t>Deployment Options</a:t>
            </a:r>
            <a:endParaRPr lang="en-US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Composition</a:t>
            </a:r>
          </a:p>
        </p:txBody>
      </p:sp>
      <p:pic>
        <p:nvPicPr>
          <p:cNvPr id="6" name="Picture 5" descr="A logo with a rocket in the middle&#10;&#10;Description automatically generated">
            <a:extLst>
              <a:ext uri="{FF2B5EF4-FFF2-40B4-BE49-F238E27FC236}">
                <a16:creationId xmlns:a16="http://schemas.microsoft.com/office/drawing/2014/main" id="{9369FFAB-2683-35E8-61F5-DA2E3FC9CF1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8754" y="5712409"/>
            <a:ext cx="2037046" cy="916017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203753DF-B9CD-6766-A941-CC078E8576E8}"/>
              </a:ext>
            </a:extLst>
          </p:cNvPr>
          <p:cNvSpPr txBox="1">
            <a:spLocks/>
          </p:cNvSpPr>
          <p:nvPr/>
        </p:nvSpPr>
        <p:spPr>
          <a:xfrm>
            <a:off x="1104477" y="5151913"/>
            <a:ext cx="4303725" cy="41208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Let’s explore…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B4F0400-51F6-DEFA-BF32-6C2CE7E690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0307" y="1245126"/>
            <a:ext cx="3660233" cy="4183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20630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Azure Template Spec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Azure resource type for storing an ARM/Bicep template for later deployment</a:t>
            </a:r>
            <a:endParaRPr lang="en-US" sz="2000" b="1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8355" y="2554365"/>
            <a:ext cx="1963754" cy="1963754"/>
          </a:xfrm>
          <a:prstGeom prst="rect">
            <a:avLst/>
          </a:prstGeom>
        </p:spPr>
      </p:pic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804B82E-E9C1-DD3E-AEBA-9A64F4356BD5}"/>
              </a:ext>
            </a:extLst>
          </p:cNvPr>
          <p:cNvSpPr/>
          <p:nvPr/>
        </p:nvSpPr>
        <p:spPr>
          <a:xfrm>
            <a:off x="8701208" y="4365730"/>
            <a:ext cx="2209153" cy="999892"/>
          </a:xfrm>
          <a:custGeom>
            <a:avLst/>
            <a:gdLst>
              <a:gd name="connsiteX0" fmla="*/ 0 w 2209153"/>
              <a:gd name="connsiteY0" fmla="*/ 166652 h 999892"/>
              <a:gd name="connsiteX1" fmla="*/ 166652 w 2209153"/>
              <a:gd name="connsiteY1" fmla="*/ 0 h 999892"/>
              <a:gd name="connsiteX2" fmla="*/ 829452 w 2209153"/>
              <a:gd name="connsiteY2" fmla="*/ 0 h 999892"/>
              <a:gd name="connsiteX3" fmla="*/ 1435976 w 2209153"/>
              <a:gd name="connsiteY3" fmla="*/ 0 h 999892"/>
              <a:gd name="connsiteX4" fmla="*/ 2042501 w 2209153"/>
              <a:gd name="connsiteY4" fmla="*/ 0 h 999892"/>
              <a:gd name="connsiteX5" fmla="*/ 2209153 w 2209153"/>
              <a:gd name="connsiteY5" fmla="*/ 166652 h 999892"/>
              <a:gd name="connsiteX6" fmla="*/ 2209153 w 2209153"/>
              <a:gd name="connsiteY6" fmla="*/ 833240 h 999892"/>
              <a:gd name="connsiteX7" fmla="*/ 2042501 w 2209153"/>
              <a:gd name="connsiteY7" fmla="*/ 999892 h 999892"/>
              <a:gd name="connsiteX8" fmla="*/ 1454735 w 2209153"/>
              <a:gd name="connsiteY8" fmla="*/ 999892 h 999892"/>
              <a:gd name="connsiteX9" fmla="*/ 829452 w 2209153"/>
              <a:gd name="connsiteY9" fmla="*/ 999892 h 999892"/>
              <a:gd name="connsiteX10" fmla="*/ 166652 w 2209153"/>
              <a:gd name="connsiteY10" fmla="*/ 999892 h 999892"/>
              <a:gd name="connsiteX11" fmla="*/ 0 w 2209153"/>
              <a:gd name="connsiteY11" fmla="*/ 833240 h 999892"/>
              <a:gd name="connsiteX12" fmla="*/ 0 w 2209153"/>
              <a:gd name="connsiteY12" fmla="*/ 166652 h 999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209153" h="999892" extrusionOk="0">
                <a:moveTo>
                  <a:pt x="0" y="166652"/>
                </a:moveTo>
                <a:cubicBezTo>
                  <a:pt x="-5816" y="71026"/>
                  <a:pt x="55833" y="7048"/>
                  <a:pt x="166652" y="0"/>
                </a:cubicBezTo>
                <a:cubicBezTo>
                  <a:pt x="412868" y="-29637"/>
                  <a:pt x="501886" y="14089"/>
                  <a:pt x="829452" y="0"/>
                </a:cubicBezTo>
                <a:cubicBezTo>
                  <a:pt x="1157018" y="-14089"/>
                  <a:pt x="1298998" y="-3346"/>
                  <a:pt x="1435976" y="0"/>
                </a:cubicBezTo>
                <a:cubicBezTo>
                  <a:pt x="1572954" y="3346"/>
                  <a:pt x="1875459" y="21759"/>
                  <a:pt x="2042501" y="0"/>
                </a:cubicBezTo>
                <a:cubicBezTo>
                  <a:pt x="2128385" y="-19826"/>
                  <a:pt x="2210752" y="68697"/>
                  <a:pt x="2209153" y="166652"/>
                </a:cubicBezTo>
                <a:cubicBezTo>
                  <a:pt x="2212572" y="350840"/>
                  <a:pt x="2204549" y="557198"/>
                  <a:pt x="2209153" y="833240"/>
                </a:cubicBezTo>
                <a:cubicBezTo>
                  <a:pt x="2208052" y="914776"/>
                  <a:pt x="2122198" y="1017044"/>
                  <a:pt x="2042501" y="999892"/>
                </a:cubicBezTo>
                <a:cubicBezTo>
                  <a:pt x="1814527" y="1006641"/>
                  <a:pt x="1713823" y="1009123"/>
                  <a:pt x="1454735" y="999892"/>
                </a:cubicBezTo>
                <a:cubicBezTo>
                  <a:pt x="1195647" y="990661"/>
                  <a:pt x="978441" y="1002587"/>
                  <a:pt x="829452" y="999892"/>
                </a:cubicBezTo>
                <a:cubicBezTo>
                  <a:pt x="680463" y="997197"/>
                  <a:pt x="332492" y="1030518"/>
                  <a:pt x="166652" y="999892"/>
                </a:cubicBezTo>
                <a:cubicBezTo>
                  <a:pt x="78123" y="996424"/>
                  <a:pt x="10822" y="918301"/>
                  <a:pt x="0" y="833240"/>
                </a:cubicBezTo>
                <a:cubicBezTo>
                  <a:pt x="-13238" y="514479"/>
                  <a:pt x="19208" y="483104"/>
                  <a:pt x="0" y="166652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dirty="0">
                <a:solidFill>
                  <a:schemeClr val="tx1"/>
                </a:solidFill>
              </a:rPr>
              <a:t>Platform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BBAE00B-5B22-3315-FC13-44FF9745CE42}"/>
              </a:ext>
            </a:extLst>
          </p:cNvPr>
          <p:cNvSpPr/>
          <p:nvPr/>
        </p:nvSpPr>
        <p:spPr>
          <a:xfrm>
            <a:off x="9120789" y="560778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E96F421-5C8F-D7AC-CB8E-03B2D301D14F}"/>
              </a:ext>
            </a:extLst>
          </p:cNvPr>
          <p:cNvSpPr/>
          <p:nvPr/>
        </p:nvSpPr>
        <p:spPr>
          <a:xfrm>
            <a:off x="9974706" y="560778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D0C9F23-91D5-336C-C039-30C996918F95}"/>
              </a:ext>
            </a:extLst>
          </p:cNvPr>
          <p:cNvSpPr/>
          <p:nvPr/>
        </p:nvSpPr>
        <p:spPr>
          <a:xfrm>
            <a:off x="10828623" y="560778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BA130D8-B452-933E-E783-2365E14A4B0B}"/>
              </a:ext>
            </a:extLst>
          </p:cNvPr>
          <p:cNvGrpSpPr/>
          <p:nvPr/>
        </p:nvGrpSpPr>
        <p:grpSpPr>
          <a:xfrm>
            <a:off x="8701208" y="4321032"/>
            <a:ext cx="1025861" cy="1089287"/>
            <a:chOff x="6618867" y="3226748"/>
            <a:chExt cx="1025861" cy="1089287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CC88A7EA-D065-DAD9-A4B5-C03B53249F7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68572" y="3226748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517C7BDF-6FB0-E93F-5851-8D3F4AF1E4E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58686" y="3315374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9C2B8AE2-14DC-AD23-2919-F06DDE649FE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8867" y="3429000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0BB37216-136E-A61C-B974-E5890833BF41}"/>
              </a:ext>
            </a:extLst>
          </p:cNvPr>
          <p:cNvSpPr/>
          <p:nvPr/>
        </p:nvSpPr>
        <p:spPr>
          <a:xfrm>
            <a:off x="9964906" y="4845404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 w="38100">
            <a:solidFill>
              <a:srgbClr val="D01012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Hub</a:t>
            </a:r>
          </a:p>
        </p:txBody>
      </p:sp>
      <p:pic>
        <p:nvPicPr>
          <p:cNvPr id="16386" name="Picture 2">
            <a:extLst>
              <a:ext uri="{FF2B5EF4-FFF2-40B4-BE49-F238E27FC236}">
                <a16:creationId xmlns:a16="http://schemas.microsoft.com/office/drawing/2014/main" id="{54088610-96F7-0299-5CFD-CE46B4331C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907" y="2432930"/>
            <a:ext cx="984667" cy="984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34DC775C-FE86-F5DC-F3D1-D5E2D253A742}"/>
              </a:ext>
            </a:extLst>
          </p:cNvPr>
          <p:cNvSpPr/>
          <p:nvPr/>
        </p:nvSpPr>
        <p:spPr>
          <a:xfrm>
            <a:off x="613071" y="2531059"/>
            <a:ext cx="3950243" cy="3401138"/>
          </a:xfrm>
          <a:custGeom>
            <a:avLst/>
            <a:gdLst>
              <a:gd name="connsiteX0" fmla="*/ 0 w 3950243"/>
              <a:gd name="connsiteY0" fmla="*/ 566868 h 3401138"/>
              <a:gd name="connsiteX1" fmla="*/ 566868 w 3950243"/>
              <a:gd name="connsiteY1" fmla="*/ 0 h 3401138"/>
              <a:gd name="connsiteX2" fmla="*/ 1186500 w 3950243"/>
              <a:gd name="connsiteY2" fmla="*/ 0 h 3401138"/>
              <a:gd name="connsiteX3" fmla="*/ 1721636 w 3950243"/>
              <a:gd name="connsiteY3" fmla="*/ 0 h 3401138"/>
              <a:gd name="connsiteX4" fmla="*/ 2228607 w 3950243"/>
              <a:gd name="connsiteY4" fmla="*/ 0 h 3401138"/>
              <a:gd name="connsiteX5" fmla="*/ 2820074 w 3950243"/>
              <a:gd name="connsiteY5" fmla="*/ 0 h 3401138"/>
              <a:gd name="connsiteX6" fmla="*/ 3383375 w 3950243"/>
              <a:gd name="connsiteY6" fmla="*/ 0 h 3401138"/>
              <a:gd name="connsiteX7" fmla="*/ 3950243 w 3950243"/>
              <a:gd name="connsiteY7" fmla="*/ 566868 h 3401138"/>
              <a:gd name="connsiteX8" fmla="*/ 3950243 w 3950243"/>
              <a:gd name="connsiteY8" fmla="*/ 1133719 h 3401138"/>
              <a:gd name="connsiteX9" fmla="*/ 3950243 w 3950243"/>
              <a:gd name="connsiteY9" fmla="*/ 1632547 h 3401138"/>
              <a:gd name="connsiteX10" fmla="*/ 3950243 w 3950243"/>
              <a:gd name="connsiteY10" fmla="*/ 2199397 h 3401138"/>
              <a:gd name="connsiteX11" fmla="*/ 3950243 w 3950243"/>
              <a:gd name="connsiteY11" fmla="*/ 2834270 h 3401138"/>
              <a:gd name="connsiteX12" fmla="*/ 3383375 w 3950243"/>
              <a:gd name="connsiteY12" fmla="*/ 3401138 h 3401138"/>
              <a:gd name="connsiteX13" fmla="*/ 2820074 w 3950243"/>
              <a:gd name="connsiteY13" fmla="*/ 3401138 h 3401138"/>
              <a:gd name="connsiteX14" fmla="*/ 2313102 w 3950243"/>
              <a:gd name="connsiteY14" fmla="*/ 3401138 h 3401138"/>
              <a:gd name="connsiteX15" fmla="*/ 1749801 w 3950243"/>
              <a:gd name="connsiteY15" fmla="*/ 3401138 h 3401138"/>
              <a:gd name="connsiteX16" fmla="*/ 1130169 w 3950243"/>
              <a:gd name="connsiteY16" fmla="*/ 3401138 h 3401138"/>
              <a:gd name="connsiteX17" fmla="*/ 566868 w 3950243"/>
              <a:gd name="connsiteY17" fmla="*/ 3401138 h 3401138"/>
              <a:gd name="connsiteX18" fmla="*/ 0 w 3950243"/>
              <a:gd name="connsiteY18" fmla="*/ 2834270 h 3401138"/>
              <a:gd name="connsiteX19" fmla="*/ 0 w 3950243"/>
              <a:gd name="connsiteY19" fmla="*/ 2312768 h 3401138"/>
              <a:gd name="connsiteX20" fmla="*/ 0 w 3950243"/>
              <a:gd name="connsiteY20" fmla="*/ 1745917 h 3401138"/>
              <a:gd name="connsiteX21" fmla="*/ 0 w 3950243"/>
              <a:gd name="connsiteY21" fmla="*/ 1224415 h 3401138"/>
              <a:gd name="connsiteX22" fmla="*/ 0 w 3950243"/>
              <a:gd name="connsiteY22" fmla="*/ 566868 h 340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50243" h="3401138" extrusionOk="0">
                <a:moveTo>
                  <a:pt x="0" y="566868"/>
                </a:moveTo>
                <a:cubicBezTo>
                  <a:pt x="-10161" y="247527"/>
                  <a:pt x="224591" y="10961"/>
                  <a:pt x="566868" y="0"/>
                </a:cubicBezTo>
                <a:cubicBezTo>
                  <a:pt x="747352" y="-461"/>
                  <a:pt x="913983" y="819"/>
                  <a:pt x="1186500" y="0"/>
                </a:cubicBezTo>
                <a:cubicBezTo>
                  <a:pt x="1459017" y="-819"/>
                  <a:pt x="1597586" y="-11433"/>
                  <a:pt x="1721636" y="0"/>
                </a:cubicBezTo>
                <a:cubicBezTo>
                  <a:pt x="1845686" y="11433"/>
                  <a:pt x="2018474" y="-23792"/>
                  <a:pt x="2228607" y="0"/>
                </a:cubicBezTo>
                <a:cubicBezTo>
                  <a:pt x="2438740" y="23792"/>
                  <a:pt x="2658505" y="11076"/>
                  <a:pt x="2820074" y="0"/>
                </a:cubicBezTo>
                <a:cubicBezTo>
                  <a:pt x="2981643" y="-11076"/>
                  <a:pt x="3220626" y="15773"/>
                  <a:pt x="3383375" y="0"/>
                </a:cubicBezTo>
                <a:cubicBezTo>
                  <a:pt x="3736664" y="-65446"/>
                  <a:pt x="3907410" y="291436"/>
                  <a:pt x="3950243" y="566868"/>
                </a:cubicBezTo>
                <a:cubicBezTo>
                  <a:pt x="3924156" y="786917"/>
                  <a:pt x="3933587" y="925958"/>
                  <a:pt x="3950243" y="1133719"/>
                </a:cubicBezTo>
                <a:cubicBezTo>
                  <a:pt x="3966899" y="1341480"/>
                  <a:pt x="3952864" y="1501939"/>
                  <a:pt x="3950243" y="1632547"/>
                </a:cubicBezTo>
                <a:cubicBezTo>
                  <a:pt x="3947622" y="1763155"/>
                  <a:pt x="3931118" y="2047385"/>
                  <a:pt x="3950243" y="2199397"/>
                </a:cubicBezTo>
                <a:cubicBezTo>
                  <a:pt x="3969369" y="2351409"/>
                  <a:pt x="3948295" y="2618066"/>
                  <a:pt x="3950243" y="2834270"/>
                </a:cubicBezTo>
                <a:cubicBezTo>
                  <a:pt x="3988033" y="3110000"/>
                  <a:pt x="3721780" y="3384803"/>
                  <a:pt x="3383375" y="3401138"/>
                </a:cubicBezTo>
                <a:cubicBezTo>
                  <a:pt x="3250224" y="3405361"/>
                  <a:pt x="3001634" y="3394571"/>
                  <a:pt x="2820074" y="3401138"/>
                </a:cubicBezTo>
                <a:cubicBezTo>
                  <a:pt x="2638514" y="3407705"/>
                  <a:pt x="2556441" y="3401035"/>
                  <a:pt x="2313102" y="3401138"/>
                </a:cubicBezTo>
                <a:cubicBezTo>
                  <a:pt x="2069763" y="3401241"/>
                  <a:pt x="1996553" y="3375595"/>
                  <a:pt x="1749801" y="3401138"/>
                </a:cubicBezTo>
                <a:cubicBezTo>
                  <a:pt x="1503049" y="3426681"/>
                  <a:pt x="1289956" y="3416195"/>
                  <a:pt x="1130169" y="3401138"/>
                </a:cubicBezTo>
                <a:cubicBezTo>
                  <a:pt x="970382" y="3386081"/>
                  <a:pt x="816758" y="3391071"/>
                  <a:pt x="566868" y="3401138"/>
                </a:cubicBezTo>
                <a:cubicBezTo>
                  <a:pt x="236104" y="3432770"/>
                  <a:pt x="6058" y="3151845"/>
                  <a:pt x="0" y="2834270"/>
                </a:cubicBezTo>
                <a:cubicBezTo>
                  <a:pt x="-13909" y="2602595"/>
                  <a:pt x="-21376" y="2523221"/>
                  <a:pt x="0" y="2312768"/>
                </a:cubicBezTo>
                <a:cubicBezTo>
                  <a:pt x="21376" y="2102315"/>
                  <a:pt x="11788" y="1978446"/>
                  <a:pt x="0" y="1745917"/>
                </a:cubicBezTo>
                <a:cubicBezTo>
                  <a:pt x="-11788" y="1513388"/>
                  <a:pt x="-10196" y="1460998"/>
                  <a:pt x="0" y="1224415"/>
                </a:cubicBezTo>
                <a:cubicBezTo>
                  <a:pt x="10196" y="987832"/>
                  <a:pt x="-20069" y="756879"/>
                  <a:pt x="0" y="566868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6136E1C-7F3A-BA3F-FC0C-C01F84635983}"/>
              </a:ext>
            </a:extLst>
          </p:cNvPr>
          <p:cNvSpPr txBox="1"/>
          <p:nvPr/>
        </p:nvSpPr>
        <p:spPr>
          <a:xfrm>
            <a:off x="637034" y="3423800"/>
            <a:ext cx="18678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/</a:t>
            </a:r>
            <a:r>
              <a:rPr lang="en-US" dirty="0" err="1"/>
              <a:t>bicepModules</a:t>
            </a:r>
            <a:r>
              <a:rPr lang="en-US" dirty="0"/>
              <a:t>/…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2651B7D-662C-F793-8FDA-FCDC154CCB52}"/>
              </a:ext>
            </a:extLst>
          </p:cNvPr>
          <p:cNvSpPr txBox="1"/>
          <p:nvPr/>
        </p:nvSpPr>
        <p:spPr>
          <a:xfrm>
            <a:off x="630962" y="3919372"/>
            <a:ext cx="3925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/</a:t>
            </a:r>
            <a:r>
              <a:rPr lang="en-US" dirty="0" err="1"/>
              <a:t>templateSpecs</a:t>
            </a:r>
            <a:r>
              <a:rPr lang="en-US" dirty="0"/>
              <a:t>/&lt;name&gt;/&lt;name&gt;.bicep</a:t>
            </a: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3D8DB2C7-41BF-F19B-6274-7171139B9E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7007" y="2474871"/>
            <a:ext cx="824608" cy="824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FE48ED0D-8310-E6BC-DEF4-708A608CC621}"/>
              </a:ext>
            </a:extLst>
          </p:cNvPr>
          <p:cNvSpPr/>
          <p:nvPr/>
        </p:nvSpPr>
        <p:spPr>
          <a:xfrm>
            <a:off x="5010637" y="2531059"/>
            <a:ext cx="2479921" cy="3401138"/>
          </a:xfrm>
          <a:custGeom>
            <a:avLst/>
            <a:gdLst>
              <a:gd name="connsiteX0" fmla="*/ 0 w 2479921"/>
              <a:gd name="connsiteY0" fmla="*/ 413328 h 3401138"/>
              <a:gd name="connsiteX1" fmla="*/ 413328 w 2479921"/>
              <a:gd name="connsiteY1" fmla="*/ 0 h 3401138"/>
              <a:gd name="connsiteX2" fmla="*/ 997482 w 2479921"/>
              <a:gd name="connsiteY2" fmla="*/ 0 h 3401138"/>
              <a:gd name="connsiteX3" fmla="*/ 1532037 w 2479921"/>
              <a:gd name="connsiteY3" fmla="*/ 0 h 3401138"/>
              <a:gd name="connsiteX4" fmla="*/ 2066593 w 2479921"/>
              <a:gd name="connsiteY4" fmla="*/ 0 h 3401138"/>
              <a:gd name="connsiteX5" fmla="*/ 2479921 w 2479921"/>
              <a:gd name="connsiteY5" fmla="*/ 413328 h 3401138"/>
              <a:gd name="connsiteX6" fmla="*/ 2479921 w 2479921"/>
              <a:gd name="connsiteY6" fmla="*/ 1005459 h 3401138"/>
              <a:gd name="connsiteX7" fmla="*/ 2479921 w 2479921"/>
              <a:gd name="connsiteY7" fmla="*/ 1597590 h 3401138"/>
              <a:gd name="connsiteX8" fmla="*/ 2479921 w 2479921"/>
              <a:gd name="connsiteY8" fmla="*/ 2292700 h 3401138"/>
              <a:gd name="connsiteX9" fmla="*/ 2479921 w 2479921"/>
              <a:gd name="connsiteY9" fmla="*/ 2987810 h 3401138"/>
              <a:gd name="connsiteX10" fmla="*/ 2066593 w 2479921"/>
              <a:gd name="connsiteY10" fmla="*/ 3401138 h 3401138"/>
              <a:gd name="connsiteX11" fmla="*/ 1498972 w 2479921"/>
              <a:gd name="connsiteY11" fmla="*/ 3401138 h 3401138"/>
              <a:gd name="connsiteX12" fmla="*/ 914818 w 2479921"/>
              <a:gd name="connsiteY12" fmla="*/ 3401138 h 3401138"/>
              <a:gd name="connsiteX13" fmla="*/ 413328 w 2479921"/>
              <a:gd name="connsiteY13" fmla="*/ 3401138 h 3401138"/>
              <a:gd name="connsiteX14" fmla="*/ 0 w 2479921"/>
              <a:gd name="connsiteY14" fmla="*/ 2987810 h 3401138"/>
              <a:gd name="connsiteX15" fmla="*/ 0 w 2479921"/>
              <a:gd name="connsiteY15" fmla="*/ 2318445 h 3401138"/>
              <a:gd name="connsiteX16" fmla="*/ 0 w 2479921"/>
              <a:gd name="connsiteY16" fmla="*/ 1674824 h 3401138"/>
              <a:gd name="connsiteX17" fmla="*/ 0 w 2479921"/>
              <a:gd name="connsiteY17" fmla="*/ 1108438 h 3401138"/>
              <a:gd name="connsiteX18" fmla="*/ 0 w 2479921"/>
              <a:gd name="connsiteY18" fmla="*/ 413328 h 340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479921" h="3401138" extrusionOk="0">
                <a:moveTo>
                  <a:pt x="0" y="413328"/>
                </a:moveTo>
                <a:cubicBezTo>
                  <a:pt x="-42586" y="158785"/>
                  <a:pt x="169361" y="5889"/>
                  <a:pt x="413328" y="0"/>
                </a:cubicBezTo>
                <a:cubicBezTo>
                  <a:pt x="700796" y="20908"/>
                  <a:pt x="821384" y="-20062"/>
                  <a:pt x="997482" y="0"/>
                </a:cubicBezTo>
                <a:cubicBezTo>
                  <a:pt x="1173580" y="20062"/>
                  <a:pt x="1405573" y="-4502"/>
                  <a:pt x="1532037" y="0"/>
                </a:cubicBezTo>
                <a:cubicBezTo>
                  <a:pt x="1658501" y="4502"/>
                  <a:pt x="1904853" y="-17499"/>
                  <a:pt x="2066593" y="0"/>
                </a:cubicBezTo>
                <a:cubicBezTo>
                  <a:pt x="2292777" y="-6735"/>
                  <a:pt x="2493051" y="136464"/>
                  <a:pt x="2479921" y="413328"/>
                </a:cubicBezTo>
                <a:cubicBezTo>
                  <a:pt x="2487557" y="608156"/>
                  <a:pt x="2473129" y="752772"/>
                  <a:pt x="2479921" y="1005459"/>
                </a:cubicBezTo>
                <a:cubicBezTo>
                  <a:pt x="2486713" y="1258146"/>
                  <a:pt x="2496994" y="1452933"/>
                  <a:pt x="2479921" y="1597590"/>
                </a:cubicBezTo>
                <a:cubicBezTo>
                  <a:pt x="2462848" y="1742247"/>
                  <a:pt x="2484196" y="1971126"/>
                  <a:pt x="2479921" y="2292700"/>
                </a:cubicBezTo>
                <a:cubicBezTo>
                  <a:pt x="2475647" y="2614274"/>
                  <a:pt x="2452823" y="2685940"/>
                  <a:pt x="2479921" y="2987810"/>
                </a:cubicBezTo>
                <a:cubicBezTo>
                  <a:pt x="2425020" y="3212945"/>
                  <a:pt x="2296802" y="3395835"/>
                  <a:pt x="2066593" y="3401138"/>
                </a:cubicBezTo>
                <a:cubicBezTo>
                  <a:pt x="1842210" y="3407192"/>
                  <a:pt x="1728370" y="3392358"/>
                  <a:pt x="1498972" y="3401138"/>
                </a:cubicBezTo>
                <a:cubicBezTo>
                  <a:pt x="1269574" y="3409918"/>
                  <a:pt x="1073950" y="3410995"/>
                  <a:pt x="914818" y="3401138"/>
                </a:cubicBezTo>
                <a:cubicBezTo>
                  <a:pt x="755686" y="3391281"/>
                  <a:pt x="542302" y="3414681"/>
                  <a:pt x="413328" y="3401138"/>
                </a:cubicBezTo>
                <a:cubicBezTo>
                  <a:pt x="175064" y="3402778"/>
                  <a:pt x="-36904" y="3190622"/>
                  <a:pt x="0" y="2987810"/>
                </a:cubicBezTo>
                <a:cubicBezTo>
                  <a:pt x="-20756" y="2719592"/>
                  <a:pt x="23264" y="2639730"/>
                  <a:pt x="0" y="2318445"/>
                </a:cubicBezTo>
                <a:cubicBezTo>
                  <a:pt x="-23264" y="1997160"/>
                  <a:pt x="-26551" y="1970651"/>
                  <a:pt x="0" y="1674824"/>
                </a:cubicBezTo>
                <a:cubicBezTo>
                  <a:pt x="26551" y="1378997"/>
                  <a:pt x="-19951" y="1277372"/>
                  <a:pt x="0" y="1108438"/>
                </a:cubicBezTo>
                <a:cubicBezTo>
                  <a:pt x="19951" y="939504"/>
                  <a:pt x="26617" y="601720"/>
                  <a:pt x="0" y="413328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2F5A9E8-DD22-7D5B-235A-CA9BAB1514C5}"/>
              </a:ext>
            </a:extLst>
          </p:cNvPr>
          <p:cNvSpPr txBox="1"/>
          <p:nvPr/>
        </p:nvSpPr>
        <p:spPr>
          <a:xfrm>
            <a:off x="5097007" y="3571271"/>
            <a:ext cx="21751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/pipelines/TS-</a:t>
            </a:r>
            <a:r>
              <a:rPr lang="en-US" dirty="0" err="1"/>
              <a:t>CI.yaml</a:t>
            </a:r>
            <a:endParaRPr lang="en-US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E13A1DA-7852-C14C-0C44-FEDC3426BC9B}"/>
              </a:ext>
            </a:extLst>
          </p:cNvPr>
          <p:cNvSpPr txBox="1"/>
          <p:nvPr/>
        </p:nvSpPr>
        <p:spPr>
          <a:xfrm>
            <a:off x="5097007" y="4027729"/>
            <a:ext cx="22547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/pipelines/TS-</a:t>
            </a:r>
            <a:r>
              <a:rPr lang="en-US" dirty="0" err="1"/>
              <a:t>CD.yaml</a:t>
            </a:r>
            <a:endParaRPr lang="en-US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822E61F-8769-DC33-2533-3FC5B62F51F8}"/>
              </a:ext>
            </a:extLst>
          </p:cNvPr>
          <p:cNvSpPr txBox="1"/>
          <p:nvPr/>
        </p:nvSpPr>
        <p:spPr>
          <a:xfrm>
            <a:off x="5097007" y="4518119"/>
            <a:ext cx="19011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/scripts/TS-CD.ps1</a:t>
            </a:r>
          </a:p>
        </p:txBody>
      </p:sp>
      <p:grpSp>
        <p:nvGrpSpPr>
          <p:cNvPr id="2057" name="Group 2056">
            <a:extLst>
              <a:ext uri="{FF2B5EF4-FFF2-40B4-BE49-F238E27FC236}">
                <a16:creationId xmlns:a16="http://schemas.microsoft.com/office/drawing/2014/main" id="{1A6D87DC-BE9E-88EA-423F-218541B67B6C}"/>
              </a:ext>
            </a:extLst>
          </p:cNvPr>
          <p:cNvGrpSpPr/>
          <p:nvPr/>
        </p:nvGrpSpPr>
        <p:grpSpPr>
          <a:xfrm>
            <a:off x="10452220" y="11685"/>
            <a:ext cx="1175537" cy="1944560"/>
            <a:chOff x="10452220" y="11685"/>
            <a:chExt cx="1175537" cy="1944560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48F7B265-C444-CEA4-70C7-617EFAC348DE}"/>
                </a:ext>
              </a:extLst>
            </p:cNvPr>
            <p:cNvSpPr/>
            <p:nvPr/>
          </p:nvSpPr>
          <p:spPr>
            <a:xfrm>
              <a:off x="10452220" y="11685"/>
              <a:ext cx="1175537" cy="1385657"/>
            </a:xfrm>
            <a:prstGeom prst="rect">
              <a:avLst/>
            </a:prstGeom>
            <a:solidFill>
              <a:srgbClr val="D01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B0B1641E-4104-29E0-E3EF-B800B1F33E35}"/>
                </a:ext>
              </a:extLst>
            </p:cNvPr>
            <p:cNvSpPr/>
            <p:nvPr/>
          </p:nvSpPr>
          <p:spPr>
            <a:xfrm>
              <a:off x="10452220" y="780708"/>
              <a:ext cx="1175537" cy="1175537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F979CCA2-A25C-CBDB-F0D0-5C203551B054}"/>
                </a:ext>
              </a:extLst>
            </p:cNvPr>
            <p:cNvSpPr/>
            <p:nvPr/>
          </p:nvSpPr>
          <p:spPr>
            <a:xfrm>
              <a:off x="10672318" y="1003519"/>
              <a:ext cx="729915" cy="7299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F5162046-BF55-16D1-C778-00B74E8C2AD9}"/>
                </a:ext>
              </a:extLst>
            </p:cNvPr>
            <p:cNvGrpSpPr/>
            <p:nvPr/>
          </p:nvGrpSpPr>
          <p:grpSpPr>
            <a:xfrm>
              <a:off x="10842995" y="1184484"/>
              <a:ext cx="388560" cy="367985"/>
              <a:chOff x="2805113" y="2247901"/>
              <a:chExt cx="779462" cy="738188"/>
            </a:xfrm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grpSpPr>
          <p:sp>
            <p:nvSpPr>
              <p:cNvPr id="59" name="Freeform 78">
                <a:extLst>
                  <a:ext uri="{FF2B5EF4-FFF2-40B4-BE49-F238E27FC236}">
                    <a16:creationId xmlns:a16="http://schemas.microsoft.com/office/drawing/2014/main" id="{0EA7BEBA-4867-8232-BC4C-3BF44F8311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6725" y="2247901"/>
                <a:ext cx="577850" cy="738188"/>
              </a:xfrm>
              <a:custGeom>
                <a:avLst/>
                <a:gdLst>
                  <a:gd name="T0" fmla="*/ 115 w 153"/>
                  <a:gd name="T1" fmla="*/ 0 h 195"/>
                  <a:gd name="T2" fmla="*/ 6 w 153"/>
                  <a:gd name="T3" fmla="*/ 0 h 195"/>
                  <a:gd name="T4" fmla="*/ 0 w 153"/>
                  <a:gd name="T5" fmla="*/ 7 h 195"/>
                  <a:gd name="T6" fmla="*/ 0 w 153"/>
                  <a:gd name="T7" fmla="*/ 195 h 195"/>
                  <a:gd name="T8" fmla="*/ 153 w 153"/>
                  <a:gd name="T9" fmla="*/ 195 h 195"/>
                  <a:gd name="T10" fmla="*/ 153 w 153"/>
                  <a:gd name="T11" fmla="*/ 39 h 195"/>
                  <a:gd name="T12" fmla="*/ 115 w 153"/>
                  <a:gd name="T13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3" h="195">
                    <a:moveTo>
                      <a:pt x="115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195"/>
                      <a:pt x="0" y="195"/>
                      <a:pt x="0" y="195"/>
                    </a:cubicBezTo>
                    <a:cubicBezTo>
                      <a:pt x="153" y="195"/>
                      <a:pt x="153" y="195"/>
                      <a:pt x="153" y="195"/>
                    </a:cubicBezTo>
                    <a:cubicBezTo>
                      <a:pt x="153" y="39"/>
                      <a:pt x="153" y="39"/>
                      <a:pt x="153" y="39"/>
                    </a:cubicBez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0" name="Freeform 79">
                <a:extLst>
                  <a:ext uri="{FF2B5EF4-FFF2-40B4-BE49-F238E27FC236}">
                    <a16:creationId xmlns:a16="http://schemas.microsoft.com/office/drawing/2014/main" id="{539F17CE-7019-84BD-E183-4AD969F59B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1700" y="2247901"/>
                <a:ext cx="142875" cy="147638"/>
              </a:xfrm>
              <a:custGeom>
                <a:avLst/>
                <a:gdLst>
                  <a:gd name="T0" fmla="*/ 0 w 90"/>
                  <a:gd name="T1" fmla="*/ 0 h 93"/>
                  <a:gd name="T2" fmla="*/ 0 w 90"/>
                  <a:gd name="T3" fmla="*/ 93 h 93"/>
                  <a:gd name="T4" fmla="*/ 90 w 90"/>
                  <a:gd name="T5" fmla="*/ 93 h 93"/>
                  <a:gd name="T6" fmla="*/ 0 w 90"/>
                  <a:gd name="T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0" h="93">
                    <a:moveTo>
                      <a:pt x="0" y="0"/>
                    </a:moveTo>
                    <a:lnTo>
                      <a:pt x="0" y="93"/>
                    </a:lnTo>
                    <a:lnTo>
                      <a:pt x="90" y="9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1" name="Freeform 80">
                <a:extLst>
                  <a:ext uri="{FF2B5EF4-FFF2-40B4-BE49-F238E27FC236}">
                    <a16:creationId xmlns:a16="http://schemas.microsoft.com/office/drawing/2014/main" id="{F855838B-E3CE-7BB3-502D-DE764F1866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419351"/>
                <a:ext cx="242888" cy="22225"/>
              </a:xfrm>
              <a:custGeom>
                <a:avLst/>
                <a:gdLst>
                  <a:gd name="T0" fmla="*/ 64 w 64"/>
                  <a:gd name="T1" fmla="*/ 3 h 6"/>
                  <a:gd name="T2" fmla="*/ 61 w 64"/>
                  <a:gd name="T3" fmla="*/ 6 h 6"/>
                  <a:gd name="T4" fmla="*/ 4 w 64"/>
                  <a:gd name="T5" fmla="*/ 6 h 6"/>
                  <a:gd name="T6" fmla="*/ 0 w 64"/>
                  <a:gd name="T7" fmla="*/ 3 h 6"/>
                  <a:gd name="T8" fmla="*/ 4 w 64"/>
                  <a:gd name="T9" fmla="*/ 0 h 6"/>
                  <a:gd name="T10" fmla="*/ 61 w 64"/>
                  <a:gd name="T11" fmla="*/ 0 h 6"/>
                  <a:gd name="T12" fmla="*/ 64 w 64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6">
                    <a:moveTo>
                      <a:pt x="64" y="3"/>
                    </a:moveTo>
                    <a:cubicBezTo>
                      <a:pt x="64" y="5"/>
                      <a:pt x="63" y="6"/>
                      <a:pt x="61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63" y="0"/>
                      <a:pt x="64" y="1"/>
                      <a:pt x="64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2" name="Freeform 81">
                <a:extLst>
                  <a:ext uri="{FF2B5EF4-FFF2-40B4-BE49-F238E27FC236}">
                    <a16:creationId xmlns:a16="http://schemas.microsoft.com/office/drawing/2014/main" id="{E757ED09-42E8-0E89-4C5C-10FD70AF05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516188"/>
                <a:ext cx="390525" cy="23813"/>
              </a:xfrm>
              <a:custGeom>
                <a:avLst/>
                <a:gdLst>
                  <a:gd name="T0" fmla="*/ 103 w 103"/>
                  <a:gd name="T1" fmla="*/ 3 h 6"/>
                  <a:gd name="T2" fmla="*/ 100 w 103"/>
                  <a:gd name="T3" fmla="*/ 6 h 6"/>
                  <a:gd name="T4" fmla="*/ 4 w 103"/>
                  <a:gd name="T5" fmla="*/ 6 h 6"/>
                  <a:gd name="T6" fmla="*/ 0 w 103"/>
                  <a:gd name="T7" fmla="*/ 3 h 6"/>
                  <a:gd name="T8" fmla="*/ 4 w 103"/>
                  <a:gd name="T9" fmla="*/ 0 h 6"/>
                  <a:gd name="T10" fmla="*/ 100 w 103"/>
                  <a:gd name="T11" fmla="*/ 0 h 6"/>
                  <a:gd name="T12" fmla="*/ 103 w 10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3"/>
                    </a:moveTo>
                    <a:cubicBezTo>
                      <a:pt x="103" y="5"/>
                      <a:pt x="101" y="6"/>
                      <a:pt x="10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1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3" name="Freeform 82">
                <a:extLst>
                  <a:ext uri="{FF2B5EF4-FFF2-40B4-BE49-F238E27FC236}">
                    <a16:creationId xmlns:a16="http://schemas.microsoft.com/office/drawing/2014/main" id="{A4D13453-A5D5-1B39-19DC-D0D477FD23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611438"/>
                <a:ext cx="390525" cy="26988"/>
              </a:xfrm>
              <a:custGeom>
                <a:avLst/>
                <a:gdLst>
                  <a:gd name="T0" fmla="*/ 103 w 103"/>
                  <a:gd name="T1" fmla="*/ 3 h 7"/>
                  <a:gd name="T2" fmla="*/ 100 w 103"/>
                  <a:gd name="T3" fmla="*/ 7 h 7"/>
                  <a:gd name="T4" fmla="*/ 4 w 103"/>
                  <a:gd name="T5" fmla="*/ 7 h 7"/>
                  <a:gd name="T6" fmla="*/ 0 w 103"/>
                  <a:gd name="T7" fmla="*/ 3 h 7"/>
                  <a:gd name="T8" fmla="*/ 4 w 103"/>
                  <a:gd name="T9" fmla="*/ 0 h 7"/>
                  <a:gd name="T10" fmla="*/ 100 w 103"/>
                  <a:gd name="T11" fmla="*/ 0 h 7"/>
                  <a:gd name="T12" fmla="*/ 103 w 103"/>
                  <a:gd name="T13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7">
                    <a:moveTo>
                      <a:pt x="103" y="3"/>
                    </a:moveTo>
                    <a:cubicBezTo>
                      <a:pt x="103" y="5"/>
                      <a:pt x="101" y="7"/>
                      <a:pt x="100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2" y="7"/>
                      <a:pt x="0" y="5"/>
                      <a:pt x="0" y="3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2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48" name="Freeform 83">
                <a:extLst>
                  <a:ext uri="{FF2B5EF4-FFF2-40B4-BE49-F238E27FC236}">
                    <a16:creationId xmlns:a16="http://schemas.microsoft.com/office/drawing/2014/main" id="{F7F292A1-E8C7-CB32-1F22-0E886DDF5C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709863"/>
                <a:ext cx="390525" cy="22225"/>
              </a:xfrm>
              <a:custGeom>
                <a:avLst/>
                <a:gdLst>
                  <a:gd name="T0" fmla="*/ 103 w 103"/>
                  <a:gd name="T1" fmla="*/ 3 h 6"/>
                  <a:gd name="T2" fmla="*/ 100 w 103"/>
                  <a:gd name="T3" fmla="*/ 6 h 6"/>
                  <a:gd name="T4" fmla="*/ 4 w 103"/>
                  <a:gd name="T5" fmla="*/ 6 h 6"/>
                  <a:gd name="T6" fmla="*/ 0 w 103"/>
                  <a:gd name="T7" fmla="*/ 3 h 6"/>
                  <a:gd name="T8" fmla="*/ 4 w 103"/>
                  <a:gd name="T9" fmla="*/ 0 h 6"/>
                  <a:gd name="T10" fmla="*/ 100 w 103"/>
                  <a:gd name="T11" fmla="*/ 0 h 6"/>
                  <a:gd name="T12" fmla="*/ 103 w 10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3"/>
                    </a:moveTo>
                    <a:cubicBezTo>
                      <a:pt x="103" y="5"/>
                      <a:pt x="101" y="6"/>
                      <a:pt x="10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1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49" name="Freeform 84">
                <a:extLst>
                  <a:ext uri="{FF2B5EF4-FFF2-40B4-BE49-F238E27FC236}">
                    <a16:creationId xmlns:a16="http://schemas.microsoft.com/office/drawing/2014/main" id="{FB2B5A4B-3781-DE21-4CD1-ECEA080AB1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113" y="2338388"/>
                <a:ext cx="530225" cy="530225"/>
              </a:xfrm>
              <a:custGeom>
                <a:avLst/>
                <a:gdLst>
                  <a:gd name="T0" fmla="*/ 131 w 140"/>
                  <a:gd name="T1" fmla="*/ 90 h 140"/>
                  <a:gd name="T2" fmla="*/ 51 w 140"/>
                  <a:gd name="T3" fmla="*/ 11 h 140"/>
                  <a:gd name="T4" fmla="*/ 49 w 140"/>
                  <a:gd name="T5" fmla="*/ 9 h 140"/>
                  <a:gd name="T6" fmla="*/ 11 w 140"/>
                  <a:gd name="T7" fmla="*/ 11 h 140"/>
                  <a:gd name="T8" fmla="*/ 11 w 140"/>
                  <a:gd name="T9" fmla="*/ 11 h 140"/>
                  <a:gd name="T10" fmla="*/ 9 w 140"/>
                  <a:gd name="T11" fmla="*/ 49 h 140"/>
                  <a:gd name="T12" fmla="*/ 11 w 140"/>
                  <a:gd name="T13" fmla="*/ 52 h 140"/>
                  <a:gd name="T14" fmla="*/ 90 w 140"/>
                  <a:gd name="T15" fmla="*/ 131 h 140"/>
                  <a:gd name="T16" fmla="*/ 122 w 140"/>
                  <a:gd name="T17" fmla="*/ 140 h 140"/>
                  <a:gd name="T18" fmla="*/ 129 w 140"/>
                  <a:gd name="T19" fmla="*/ 129 h 140"/>
                  <a:gd name="T20" fmla="*/ 140 w 140"/>
                  <a:gd name="T21" fmla="*/ 122 h 140"/>
                  <a:gd name="T22" fmla="*/ 131 w 140"/>
                  <a:gd name="T23" fmla="*/ 9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0" h="140">
                    <a:moveTo>
                      <a:pt x="131" y="90"/>
                    </a:moveTo>
                    <a:cubicBezTo>
                      <a:pt x="51" y="11"/>
                      <a:pt x="51" y="11"/>
                      <a:pt x="51" y="11"/>
                    </a:cubicBezTo>
                    <a:cubicBezTo>
                      <a:pt x="51" y="10"/>
                      <a:pt x="50" y="10"/>
                      <a:pt x="49" y="9"/>
                    </a:cubicBezTo>
                    <a:cubicBezTo>
                      <a:pt x="38" y="0"/>
                      <a:pt x="22" y="0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0" y="22"/>
                      <a:pt x="0" y="38"/>
                      <a:pt x="9" y="49"/>
                    </a:cubicBezTo>
                    <a:cubicBezTo>
                      <a:pt x="9" y="50"/>
                      <a:pt x="10" y="51"/>
                      <a:pt x="11" y="52"/>
                    </a:cubicBezTo>
                    <a:cubicBezTo>
                      <a:pt x="90" y="131"/>
                      <a:pt x="90" y="131"/>
                      <a:pt x="90" y="131"/>
                    </a:cubicBezTo>
                    <a:cubicBezTo>
                      <a:pt x="122" y="140"/>
                      <a:pt x="122" y="140"/>
                      <a:pt x="122" y="140"/>
                    </a:cubicBezTo>
                    <a:cubicBezTo>
                      <a:pt x="123" y="136"/>
                      <a:pt x="125" y="132"/>
                      <a:pt x="129" y="129"/>
                    </a:cubicBezTo>
                    <a:cubicBezTo>
                      <a:pt x="132" y="126"/>
                      <a:pt x="136" y="123"/>
                      <a:pt x="140" y="122"/>
                    </a:cubicBezTo>
                    <a:lnTo>
                      <a:pt x="131" y="90"/>
                    </a:lnTo>
                    <a:close/>
                  </a:path>
                </a:pathLst>
              </a:custGeom>
              <a:solidFill>
                <a:srgbClr val="F4D0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51" name="Freeform 85">
                <a:extLst>
                  <a:ext uri="{FF2B5EF4-FFF2-40B4-BE49-F238E27FC236}">
                    <a16:creationId xmlns:a16="http://schemas.microsoft.com/office/drawing/2014/main" id="{FD9A3745-24D7-1345-57D2-778313F59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113" y="2338388"/>
                <a:ext cx="185738" cy="185738"/>
              </a:xfrm>
              <a:custGeom>
                <a:avLst/>
                <a:gdLst>
                  <a:gd name="T0" fmla="*/ 49 w 49"/>
                  <a:gd name="T1" fmla="*/ 9 h 49"/>
                  <a:gd name="T2" fmla="*/ 9 w 49"/>
                  <a:gd name="T3" fmla="*/ 49 h 49"/>
                  <a:gd name="T4" fmla="*/ 11 w 49"/>
                  <a:gd name="T5" fmla="*/ 11 h 49"/>
                  <a:gd name="T6" fmla="*/ 11 w 49"/>
                  <a:gd name="T7" fmla="*/ 11 h 49"/>
                  <a:gd name="T8" fmla="*/ 49 w 49"/>
                  <a:gd name="T9" fmla="*/ 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9">
                    <a:moveTo>
                      <a:pt x="49" y="9"/>
                    </a:moveTo>
                    <a:cubicBezTo>
                      <a:pt x="9" y="49"/>
                      <a:pt x="9" y="49"/>
                      <a:pt x="9" y="49"/>
                    </a:cubicBezTo>
                    <a:cubicBezTo>
                      <a:pt x="0" y="38"/>
                      <a:pt x="0" y="22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22" y="0"/>
                      <a:pt x="38" y="0"/>
                      <a:pt x="49" y="9"/>
                    </a:cubicBezTo>
                    <a:close/>
                  </a:path>
                </a:pathLst>
              </a:custGeom>
              <a:solidFill>
                <a:srgbClr val="F7B4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52" name="Freeform 86">
                <a:extLst>
                  <a:ext uri="{FF2B5EF4-FFF2-40B4-BE49-F238E27FC236}">
                    <a16:creationId xmlns:a16="http://schemas.microsoft.com/office/drawing/2014/main" id="{A11BAF3D-AC8D-8BDA-CD3A-5AB97407F4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7075" y="2800351"/>
                <a:ext cx="90488" cy="90488"/>
              </a:xfrm>
              <a:custGeom>
                <a:avLst/>
                <a:gdLst>
                  <a:gd name="T0" fmla="*/ 18 w 24"/>
                  <a:gd name="T1" fmla="*/ 0 h 24"/>
                  <a:gd name="T2" fmla="*/ 24 w 24"/>
                  <a:gd name="T3" fmla="*/ 21 h 24"/>
                  <a:gd name="T4" fmla="*/ 20 w 24"/>
                  <a:gd name="T5" fmla="*/ 24 h 24"/>
                  <a:gd name="T6" fmla="*/ 0 w 24"/>
                  <a:gd name="T7" fmla="*/ 18 h 24"/>
                  <a:gd name="T8" fmla="*/ 7 w 24"/>
                  <a:gd name="T9" fmla="*/ 7 h 24"/>
                  <a:gd name="T10" fmla="*/ 18 w 24"/>
                  <a:gd name="T1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24">
                    <a:moveTo>
                      <a:pt x="18" y="0"/>
                    </a:moveTo>
                    <a:cubicBezTo>
                      <a:pt x="24" y="21"/>
                      <a:pt x="24" y="21"/>
                      <a:pt x="24" y="21"/>
                    </a:cubicBezTo>
                    <a:cubicBezTo>
                      <a:pt x="24" y="23"/>
                      <a:pt x="22" y="24"/>
                      <a:pt x="20" y="24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1" y="14"/>
                      <a:pt x="3" y="10"/>
                      <a:pt x="7" y="7"/>
                    </a:cubicBezTo>
                    <a:cubicBezTo>
                      <a:pt x="10" y="4"/>
                      <a:pt x="14" y="1"/>
                      <a:pt x="18" y="0"/>
                    </a:cubicBez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53" name="Freeform 87">
                <a:extLst>
                  <a:ext uri="{FF2B5EF4-FFF2-40B4-BE49-F238E27FC236}">
                    <a16:creationId xmlns:a16="http://schemas.microsoft.com/office/drawing/2014/main" id="{E60FC808-121D-C97D-A754-0E75EF8CC5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403476"/>
                <a:ext cx="434975" cy="427038"/>
              </a:xfrm>
              <a:custGeom>
                <a:avLst/>
                <a:gdLst>
                  <a:gd name="T0" fmla="*/ 114 w 115"/>
                  <a:gd name="T1" fmla="*/ 73 h 113"/>
                  <a:gd name="T2" fmla="*/ 41 w 115"/>
                  <a:gd name="T3" fmla="*/ 0 h 113"/>
                  <a:gd name="T4" fmla="*/ 0 w 115"/>
                  <a:gd name="T5" fmla="*/ 40 h 113"/>
                  <a:gd name="T6" fmla="*/ 0 w 115"/>
                  <a:gd name="T7" fmla="*/ 40 h 113"/>
                  <a:gd name="T8" fmla="*/ 73 w 115"/>
                  <a:gd name="T9" fmla="*/ 113 h 113"/>
                  <a:gd name="T10" fmla="*/ 73 w 115"/>
                  <a:gd name="T11" fmla="*/ 113 h 113"/>
                  <a:gd name="T12" fmla="*/ 76 w 115"/>
                  <a:gd name="T13" fmla="*/ 95 h 113"/>
                  <a:gd name="T14" fmla="*/ 94 w 115"/>
                  <a:gd name="T15" fmla="*/ 94 h 113"/>
                  <a:gd name="T16" fmla="*/ 94 w 115"/>
                  <a:gd name="T17" fmla="*/ 93 h 113"/>
                  <a:gd name="T18" fmla="*/ 94 w 115"/>
                  <a:gd name="T19" fmla="*/ 93 h 113"/>
                  <a:gd name="T20" fmla="*/ 96 w 115"/>
                  <a:gd name="T21" fmla="*/ 74 h 113"/>
                  <a:gd name="T22" fmla="*/ 114 w 115"/>
                  <a:gd name="T23" fmla="*/ 73 h 113"/>
                  <a:gd name="T24" fmla="*/ 114 w 115"/>
                  <a:gd name="T25" fmla="*/ 73 h 113"/>
                  <a:gd name="T26" fmla="*/ 114 w 115"/>
                  <a:gd name="T27" fmla="*/ 7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" h="113">
                    <a:moveTo>
                      <a:pt x="114" y="73"/>
                    </a:moveTo>
                    <a:cubicBezTo>
                      <a:pt x="108" y="67"/>
                      <a:pt x="41" y="0"/>
                      <a:pt x="41" y="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64" y="104"/>
                      <a:pt x="73" y="113"/>
                    </a:cubicBezTo>
                    <a:cubicBezTo>
                      <a:pt x="73" y="113"/>
                      <a:pt x="73" y="113"/>
                      <a:pt x="73" y="113"/>
                    </a:cubicBezTo>
                    <a:cubicBezTo>
                      <a:pt x="70" y="108"/>
                      <a:pt x="71" y="100"/>
                      <a:pt x="76" y="95"/>
                    </a:cubicBezTo>
                    <a:cubicBezTo>
                      <a:pt x="81" y="90"/>
                      <a:pt x="89" y="90"/>
                      <a:pt x="94" y="94"/>
                    </a:cubicBezTo>
                    <a:cubicBezTo>
                      <a:pt x="94" y="94"/>
                      <a:pt x="94" y="94"/>
                      <a:pt x="94" y="93"/>
                    </a:cubicBezTo>
                    <a:cubicBezTo>
                      <a:pt x="94" y="93"/>
                      <a:pt x="94" y="93"/>
                      <a:pt x="94" y="93"/>
                    </a:cubicBezTo>
                    <a:cubicBezTo>
                      <a:pt x="90" y="88"/>
                      <a:pt x="90" y="80"/>
                      <a:pt x="96" y="74"/>
                    </a:cubicBezTo>
                    <a:cubicBezTo>
                      <a:pt x="101" y="69"/>
                      <a:pt x="109" y="69"/>
                      <a:pt x="114" y="73"/>
                    </a:cubicBezTo>
                    <a:cubicBezTo>
                      <a:pt x="114" y="73"/>
                      <a:pt x="114" y="73"/>
                      <a:pt x="114" y="73"/>
                    </a:cubicBezTo>
                    <a:cubicBezTo>
                      <a:pt x="115" y="73"/>
                      <a:pt x="115" y="73"/>
                      <a:pt x="114" y="73"/>
                    </a:cubicBezTo>
                    <a:close/>
                  </a:path>
                </a:pathLst>
              </a:custGeom>
              <a:solidFill>
                <a:srgbClr val="DF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54" name="Freeform 88">
                <a:extLst>
                  <a:ext uri="{FF2B5EF4-FFF2-40B4-BE49-F238E27FC236}">
                    <a16:creationId xmlns:a16="http://schemas.microsoft.com/office/drawing/2014/main" id="{80AF5BBB-3F42-8A53-68EE-B256655D65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0038" y="2373313"/>
                <a:ext cx="180975" cy="180975"/>
              </a:xfrm>
              <a:custGeom>
                <a:avLst/>
                <a:gdLst>
                  <a:gd name="T0" fmla="*/ 17 w 114"/>
                  <a:gd name="T1" fmla="*/ 114 h 114"/>
                  <a:gd name="T2" fmla="*/ 0 w 114"/>
                  <a:gd name="T3" fmla="*/ 98 h 114"/>
                  <a:gd name="T4" fmla="*/ 95 w 114"/>
                  <a:gd name="T5" fmla="*/ 0 h 114"/>
                  <a:gd name="T6" fmla="*/ 114 w 114"/>
                  <a:gd name="T7" fmla="*/ 19 h 114"/>
                  <a:gd name="T8" fmla="*/ 17 w 114"/>
                  <a:gd name="T9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114">
                    <a:moveTo>
                      <a:pt x="17" y="114"/>
                    </a:moveTo>
                    <a:lnTo>
                      <a:pt x="0" y="98"/>
                    </a:lnTo>
                    <a:lnTo>
                      <a:pt x="95" y="0"/>
                    </a:lnTo>
                    <a:lnTo>
                      <a:pt x="114" y="19"/>
                    </a:lnTo>
                    <a:lnTo>
                      <a:pt x="17" y="114"/>
                    </a:lnTo>
                    <a:close/>
                  </a:path>
                </a:pathLst>
              </a:custGeom>
              <a:solidFill>
                <a:srgbClr val="FACB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55" name="Freeform 89">
                <a:extLst>
                  <a:ext uri="{FF2B5EF4-FFF2-40B4-BE49-F238E27FC236}">
                    <a16:creationId xmlns:a16="http://schemas.microsoft.com/office/drawing/2014/main" id="{A25547B0-686A-956F-3900-14FFE4890E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479676"/>
                <a:ext cx="355600" cy="350838"/>
              </a:xfrm>
              <a:custGeom>
                <a:avLst/>
                <a:gdLst>
                  <a:gd name="T0" fmla="*/ 0 w 94"/>
                  <a:gd name="T1" fmla="*/ 20 h 93"/>
                  <a:gd name="T2" fmla="*/ 73 w 94"/>
                  <a:gd name="T3" fmla="*/ 93 h 93"/>
                  <a:gd name="T4" fmla="*/ 73 w 94"/>
                  <a:gd name="T5" fmla="*/ 93 h 93"/>
                  <a:gd name="T6" fmla="*/ 76 w 94"/>
                  <a:gd name="T7" fmla="*/ 75 h 93"/>
                  <a:gd name="T8" fmla="*/ 94 w 94"/>
                  <a:gd name="T9" fmla="*/ 74 h 93"/>
                  <a:gd name="T10" fmla="*/ 94 w 94"/>
                  <a:gd name="T11" fmla="*/ 73 h 93"/>
                  <a:gd name="T12" fmla="*/ 21 w 94"/>
                  <a:gd name="T13" fmla="*/ 0 h 93"/>
                  <a:gd name="T14" fmla="*/ 0 w 94"/>
                  <a:gd name="T15" fmla="*/ 2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4" h="93">
                    <a:moveTo>
                      <a:pt x="0" y="20"/>
                    </a:moveTo>
                    <a:cubicBezTo>
                      <a:pt x="0" y="20"/>
                      <a:pt x="64" y="84"/>
                      <a:pt x="73" y="93"/>
                    </a:cubicBezTo>
                    <a:cubicBezTo>
                      <a:pt x="73" y="93"/>
                      <a:pt x="73" y="93"/>
                      <a:pt x="73" y="93"/>
                    </a:cubicBezTo>
                    <a:cubicBezTo>
                      <a:pt x="70" y="88"/>
                      <a:pt x="71" y="80"/>
                      <a:pt x="76" y="75"/>
                    </a:cubicBezTo>
                    <a:cubicBezTo>
                      <a:pt x="81" y="70"/>
                      <a:pt x="89" y="70"/>
                      <a:pt x="94" y="74"/>
                    </a:cubicBezTo>
                    <a:cubicBezTo>
                      <a:pt x="94" y="74"/>
                      <a:pt x="94" y="73"/>
                      <a:pt x="94" y="73"/>
                    </a:cubicBezTo>
                    <a:cubicBezTo>
                      <a:pt x="21" y="0"/>
                      <a:pt x="21" y="0"/>
                      <a:pt x="21" y="0"/>
                    </a:cubicBez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FA56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2056" name="TextBox 2055">
              <a:extLst>
                <a:ext uri="{FF2B5EF4-FFF2-40B4-BE49-F238E27FC236}">
                  <a16:creationId xmlns:a16="http://schemas.microsoft.com/office/drawing/2014/main" id="{4E3BEE08-68F9-4676-61D9-F3EBC6C3D05C}"/>
                </a:ext>
              </a:extLst>
            </p:cNvPr>
            <p:cNvSpPr txBox="1"/>
            <p:nvPr/>
          </p:nvSpPr>
          <p:spPr>
            <a:xfrm>
              <a:off x="10461679" y="244286"/>
              <a:ext cx="1143262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mo</a:t>
              </a:r>
            </a:p>
          </p:txBody>
        </p:sp>
      </p:grpSp>
      <p:sp>
        <p:nvSpPr>
          <p:cNvPr id="2058" name="Arrow: Right 2057">
            <a:extLst>
              <a:ext uri="{FF2B5EF4-FFF2-40B4-BE49-F238E27FC236}">
                <a16:creationId xmlns:a16="http://schemas.microsoft.com/office/drawing/2014/main" id="{6DE964B7-68B8-7CA4-846F-7BF2F75CFE7D}"/>
              </a:ext>
            </a:extLst>
          </p:cNvPr>
          <p:cNvSpPr/>
          <p:nvPr/>
        </p:nvSpPr>
        <p:spPr>
          <a:xfrm>
            <a:off x="4638763" y="4031701"/>
            <a:ext cx="314089" cy="152389"/>
          </a:xfrm>
          <a:custGeom>
            <a:avLst/>
            <a:gdLst>
              <a:gd name="connsiteX0" fmla="*/ 0 w 314089"/>
              <a:gd name="connsiteY0" fmla="*/ 38097 h 152389"/>
              <a:gd name="connsiteX1" fmla="*/ 202594 w 314089"/>
              <a:gd name="connsiteY1" fmla="*/ 38097 h 152389"/>
              <a:gd name="connsiteX2" fmla="*/ 202594 w 314089"/>
              <a:gd name="connsiteY2" fmla="*/ 0 h 152389"/>
              <a:gd name="connsiteX3" fmla="*/ 314089 w 314089"/>
              <a:gd name="connsiteY3" fmla="*/ 76195 h 152389"/>
              <a:gd name="connsiteX4" fmla="*/ 202594 w 314089"/>
              <a:gd name="connsiteY4" fmla="*/ 152389 h 152389"/>
              <a:gd name="connsiteX5" fmla="*/ 202594 w 314089"/>
              <a:gd name="connsiteY5" fmla="*/ 114292 h 152389"/>
              <a:gd name="connsiteX6" fmla="*/ 0 w 314089"/>
              <a:gd name="connsiteY6" fmla="*/ 114292 h 152389"/>
              <a:gd name="connsiteX7" fmla="*/ 0 w 314089"/>
              <a:gd name="connsiteY7" fmla="*/ 38097 h 1523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4089" h="152389" extrusionOk="0">
                <a:moveTo>
                  <a:pt x="0" y="38097"/>
                </a:moveTo>
                <a:cubicBezTo>
                  <a:pt x="52967" y="41992"/>
                  <a:pt x="140330" y="35096"/>
                  <a:pt x="202594" y="38097"/>
                </a:cubicBezTo>
                <a:cubicBezTo>
                  <a:pt x="203720" y="29278"/>
                  <a:pt x="201487" y="12217"/>
                  <a:pt x="202594" y="0"/>
                </a:cubicBezTo>
                <a:cubicBezTo>
                  <a:pt x="250704" y="31894"/>
                  <a:pt x="285487" y="59697"/>
                  <a:pt x="314089" y="76195"/>
                </a:cubicBezTo>
                <a:cubicBezTo>
                  <a:pt x="263585" y="116079"/>
                  <a:pt x="224767" y="135612"/>
                  <a:pt x="202594" y="152389"/>
                </a:cubicBezTo>
                <a:cubicBezTo>
                  <a:pt x="201837" y="143513"/>
                  <a:pt x="201365" y="122824"/>
                  <a:pt x="202594" y="114292"/>
                </a:cubicBezTo>
                <a:cubicBezTo>
                  <a:pt x="157247" y="123016"/>
                  <a:pt x="98127" y="112087"/>
                  <a:pt x="0" y="114292"/>
                </a:cubicBezTo>
                <a:cubicBezTo>
                  <a:pt x="-3058" y="87297"/>
                  <a:pt x="465" y="64655"/>
                  <a:pt x="0" y="38097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>
                      <a:gd name="adj1" fmla="val 50000"/>
                      <a:gd name="adj2" fmla="val 73165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59" name="Arrow: Right 2058">
            <a:extLst>
              <a:ext uri="{FF2B5EF4-FFF2-40B4-BE49-F238E27FC236}">
                <a16:creationId xmlns:a16="http://schemas.microsoft.com/office/drawing/2014/main" id="{F801CB75-769C-D145-3164-8BCA11DA197C}"/>
              </a:ext>
            </a:extLst>
          </p:cNvPr>
          <p:cNvSpPr/>
          <p:nvPr/>
        </p:nvSpPr>
        <p:spPr>
          <a:xfrm>
            <a:off x="7530721" y="4397061"/>
            <a:ext cx="1109406" cy="234205"/>
          </a:xfrm>
          <a:custGeom>
            <a:avLst/>
            <a:gdLst>
              <a:gd name="connsiteX0" fmla="*/ 0 w 1109406"/>
              <a:gd name="connsiteY0" fmla="*/ 58551 h 234205"/>
              <a:gd name="connsiteX1" fmla="*/ 486229 w 1109406"/>
              <a:gd name="connsiteY1" fmla="*/ 58551 h 234205"/>
              <a:gd name="connsiteX2" fmla="*/ 992304 w 1109406"/>
              <a:gd name="connsiteY2" fmla="*/ 58551 h 234205"/>
              <a:gd name="connsiteX3" fmla="*/ 992304 w 1109406"/>
              <a:gd name="connsiteY3" fmla="*/ 0 h 234205"/>
              <a:gd name="connsiteX4" fmla="*/ 1109406 w 1109406"/>
              <a:gd name="connsiteY4" fmla="*/ 117103 h 234205"/>
              <a:gd name="connsiteX5" fmla="*/ 992304 w 1109406"/>
              <a:gd name="connsiteY5" fmla="*/ 234205 h 234205"/>
              <a:gd name="connsiteX6" fmla="*/ 992304 w 1109406"/>
              <a:gd name="connsiteY6" fmla="*/ 175654 h 234205"/>
              <a:gd name="connsiteX7" fmla="*/ 515998 w 1109406"/>
              <a:gd name="connsiteY7" fmla="*/ 175654 h 234205"/>
              <a:gd name="connsiteX8" fmla="*/ 0 w 1109406"/>
              <a:gd name="connsiteY8" fmla="*/ 175654 h 234205"/>
              <a:gd name="connsiteX9" fmla="*/ 0 w 1109406"/>
              <a:gd name="connsiteY9" fmla="*/ 58551 h 234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9406" h="234205" extrusionOk="0">
                <a:moveTo>
                  <a:pt x="0" y="58551"/>
                </a:moveTo>
                <a:cubicBezTo>
                  <a:pt x="222347" y="37923"/>
                  <a:pt x="310675" y="38927"/>
                  <a:pt x="486229" y="58551"/>
                </a:cubicBezTo>
                <a:cubicBezTo>
                  <a:pt x="661783" y="78175"/>
                  <a:pt x="859783" y="63824"/>
                  <a:pt x="992304" y="58551"/>
                </a:cubicBezTo>
                <a:cubicBezTo>
                  <a:pt x="993020" y="41256"/>
                  <a:pt x="990147" y="15159"/>
                  <a:pt x="992304" y="0"/>
                </a:cubicBezTo>
                <a:cubicBezTo>
                  <a:pt x="1018788" y="24798"/>
                  <a:pt x="1050788" y="67063"/>
                  <a:pt x="1109406" y="117103"/>
                </a:cubicBezTo>
                <a:cubicBezTo>
                  <a:pt x="1072629" y="161142"/>
                  <a:pt x="1026658" y="189317"/>
                  <a:pt x="992304" y="234205"/>
                </a:cubicBezTo>
                <a:cubicBezTo>
                  <a:pt x="994041" y="222130"/>
                  <a:pt x="993488" y="188290"/>
                  <a:pt x="992304" y="175654"/>
                </a:cubicBezTo>
                <a:cubicBezTo>
                  <a:pt x="803633" y="186756"/>
                  <a:pt x="645309" y="195690"/>
                  <a:pt x="515998" y="175654"/>
                </a:cubicBezTo>
                <a:cubicBezTo>
                  <a:pt x="386687" y="155618"/>
                  <a:pt x="107316" y="177347"/>
                  <a:pt x="0" y="175654"/>
                </a:cubicBezTo>
                <a:cubicBezTo>
                  <a:pt x="-3119" y="127483"/>
                  <a:pt x="4360" y="112378"/>
                  <a:pt x="0" y="58551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65" name="Arrow: Right 2064">
            <a:extLst>
              <a:ext uri="{FF2B5EF4-FFF2-40B4-BE49-F238E27FC236}">
                <a16:creationId xmlns:a16="http://schemas.microsoft.com/office/drawing/2014/main" id="{554707AD-820D-59B0-2BE1-998BA127E0F9}"/>
              </a:ext>
            </a:extLst>
          </p:cNvPr>
          <p:cNvSpPr/>
          <p:nvPr/>
        </p:nvSpPr>
        <p:spPr>
          <a:xfrm rot="3660239" flipV="1">
            <a:off x="8449089" y="3772749"/>
            <a:ext cx="1039346" cy="197752"/>
          </a:xfrm>
          <a:custGeom>
            <a:avLst/>
            <a:gdLst>
              <a:gd name="connsiteX0" fmla="*/ 0 w 1039346"/>
              <a:gd name="connsiteY0" fmla="*/ 49438 h 197752"/>
              <a:gd name="connsiteX1" fmla="*/ 460830 w 1039346"/>
              <a:gd name="connsiteY1" fmla="*/ 49438 h 197752"/>
              <a:gd name="connsiteX2" fmla="*/ 940470 w 1039346"/>
              <a:gd name="connsiteY2" fmla="*/ 49438 h 197752"/>
              <a:gd name="connsiteX3" fmla="*/ 940470 w 1039346"/>
              <a:gd name="connsiteY3" fmla="*/ 0 h 197752"/>
              <a:gd name="connsiteX4" fmla="*/ 1039346 w 1039346"/>
              <a:gd name="connsiteY4" fmla="*/ 98876 h 197752"/>
              <a:gd name="connsiteX5" fmla="*/ 940470 w 1039346"/>
              <a:gd name="connsiteY5" fmla="*/ 197752 h 197752"/>
              <a:gd name="connsiteX6" fmla="*/ 940470 w 1039346"/>
              <a:gd name="connsiteY6" fmla="*/ 148314 h 197752"/>
              <a:gd name="connsiteX7" fmla="*/ 489044 w 1039346"/>
              <a:gd name="connsiteY7" fmla="*/ 148314 h 197752"/>
              <a:gd name="connsiteX8" fmla="*/ 0 w 1039346"/>
              <a:gd name="connsiteY8" fmla="*/ 148314 h 197752"/>
              <a:gd name="connsiteX9" fmla="*/ 0 w 1039346"/>
              <a:gd name="connsiteY9" fmla="*/ 49438 h 19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39346" h="197752" extrusionOk="0">
                <a:moveTo>
                  <a:pt x="0" y="49438"/>
                </a:moveTo>
                <a:cubicBezTo>
                  <a:pt x="134561" y="46031"/>
                  <a:pt x="360177" y="30611"/>
                  <a:pt x="460830" y="49438"/>
                </a:cubicBezTo>
                <a:cubicBezTo>
                  <a:pt x="561483" y="68266"/>
                  <a:pt x="808301" y="47673"/>
                  <a:pt x="940470" y="49438"/>
                </a:cubicBezTo>
                <a:cubicBezTo>
                  <a:pt x="941521" y="27830"/>
                  <a:pt x="941479" y="23659"/>
                  <a:pt x="940470" y="0"/>
                </a:cubicBezTo>
                <a:cubicBezTo>
                  <a:pt x="969187" y="24837"/>
                  <a:pt x="1016235" y="71130"/>
                  <a:pt x="1039346" y="98876"/>
                </a:cubicBezTo>
                <a:cubicBezTo>
                  <a:pt x="989391" y="141041"/>
                  <a:pt x="972141" y="173368"/>
                  <a:pt x="940470" y="197752"/>
                </a:cubicBezTo>
                <a:cubicBezTo>
                  <a:pt x="939977" y="180109"/>
                  <a:pt x="938363" y="162894"/>
                  <a:pt x="940470" y="148314"/>
                </a:cubicBezTo>
                <a:cubicBezTo>
                  <a:pt x="818971" y="135736"/>
                  <a:pt x="643147" y="166443"/>
                  <a:pt x="489044" y="148314"/>
                </a:cubicBezTo>
                <a:cubicBezTo>
                  <a:pt x="334941" y="130185"/>
                  <a:pt x="215146" y="162363"/>
                  <a:pt x="0" y="148314"/>
                </a:cubicBezTo>
                <a:cubicBezTo>
                  <a:pt x="1981" y="119112"/>
                  <a:pt x="-3662" y="72653"/>
                  <a:pt x="0" y="49438"/>
                </a:cubicBezTo>
                <a:close/>
              </a:path>
            </a:pathLst>
          </a:custGeom>
          <a:noFill/>
          <a:ln w="25400">
            <a:solidFill>
              <a:srgbClr val="D01012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66" name="Arrow: Right 2065">
            <a:extLst>
              <a:ext uri="{FF2B5EF4-FFF2-40B4-BE49-F238E27FC236}">
                <a16:creationId xmlns:a16="http://schemas.microsoft.com/office/drawing/2014/main" id="{C47B7FEE-892C-6CDB-2809-01030A8B509C}"/>
              </a:ext>
            </a:extLst>
          </p:cNvPr>
          <p:cNvSpPr/>
          <p:nvPr/>
        </p:nvSpPr>
        <p:spPr>
          <a:xfrm>
            <a:off x="9661135" y="4954027"/>
            <a:ext cx="259818" cy="184259"/>
          </a:xfrm>
          <a:custGeom>
            <a:avLst/>
            <a:gdLst>
              <a:gd name="connsiteX0" fmla="*/ 0 w 259818"/>
              <a:gd name="connsiteY0" fmla="*/ 46065 h 184259"/>
              <a:gd name="connsiteX1" fmla="*/ 167689 w 259818"/>
              <a:gd name="connsiteY1" fmla="*/ 46065 h 184259"/>
              <a:gd name="connsiteX2" fmla="*/ 167689 w 259818"/>
              <a:gd name="connsiteY2" fmla="*/ 0 h 184259"/>
              <a:gd name="connsiteX3" fmla="*/ 259818 w 259818"/>
              <a:gd name="connsiteY3" fmla="*/ 92130 h 184259"/>
              <a:gd name="connsiteX4" fmla="*/ 167689 w 259818"/>
              <a:gd name="connsiteY4" fmla="*/ 184259 h 184259"/>
              <a:gd name="connsiteX5" fmla="*/ 167689 w 259818"/>
              <a:gd name="connsiteY5" fmla="*/ 138194 h 184259"/>
              <a:gd name="connsiteX6" fmla="*/ 0 w 259818"/>
              <a:gd name="connsiteY6" fmla="*/ 138194 h 184259"/>
              <a:gd name="connsiteX7" fmla="*/ 0 w 259818"/>
              <a:gd name="connsiteY7" fmla="*/ 46065 h 184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9818" h="184259" extrusionOk="0">
                <a:moveTo>
                  <a:pt x="0" y="46065"/>
                </a:moveTo>
                <a:cubicBezTo>
                  <a:pt x="50607" y="40808"/>
                  <a:pt x="131763" y="52407"/>
                  <a:pt x="167689" y="46065"/>
                </a:cubicBezTo>
                <a:cubicBezTo>
                  <a:pt x="169238" y="28750"/>
                  <a:pt x="168475" y="13679"/>
                  <a:pt x="167689" y="0"/>
                </a:cubicBezTo>
                <a:cubicBezTo>
                  <a:pt x="188003" y="23551"/>
                  <a:pt x="230479" y="55820"/>
                  <a:pt x="259818" y="92130"/>
                </a:cubicBezTo>
                <a:cubicBezTo>
                  <a:pt x="233418" y="116514"/>
                  <a:pt x="212381" y="145655"/>
                  <a:pt x="167689" y="184259"/>
                </a:cubicBezTo>
                <a:cubicBezTo>
                  <a:pt x="165537" y="165801"/>
                  <a:pt x="166111" y="152551"/>
                  <a:pt x="167689" y="138194"/>
                </a:cubicBezTo>
                <a:cubicBezTo>
                  <a:pt x="88657" y="138007"/>
                  <a:pt x="51142" y="137500"/>
                  <a:pt x="0" y="138194"/>
                </a:cubicBezTo>
                <a:cubicBezTo>
                  <a:pt x="-2375" y="92330"/>
                  <a:pt x="-3557" y="88170"/>
                  <a:pt x="0" y="46065"/>
                </a:cubicBezTo>
                <a:close/>
              </a:path>
            </a:pathLst>
          </a:custGeom>
          <a:noFill/>
          <a:ln w="25400">
            <a:solidFill>
              <a:srgbClr val="D01012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69" name="Group 2068">
            <a:extLst>
              <a:ext uri="{FF2B5EF4-FFF2-40B4-BE49-F238E27FC236}">
                <a16:creationId xmlns:a16="http://schemas.microsoft.com/office/drawing/2014/main" id="{056010CF-4FB7-72EA-11D2-141139A127B6}"/>
              </a:ext>
            </a:extLst>
          </p:cNvPr>
          <p:cNvGrpSpPr/>
          <p:nvPr/>
        </p:nvGrpSpPr>
        <p:grpSpPr>
          <a:xfrm>
            <a:off x="7881878" y="2574586"/>
            <a:ext cx="984668" cy="790227"/>
            <a:chOff x="7847850" y="2300529"/>
            <a:chExt cx="984668" cy="790227"/>
          </a:xfrm>
        </p:grpSpPr>
        <p:grpSp>
          <p:nvGrpSpPr>
            <p:cNvPr id="2060" name="Group 2059">
              <a:extLst>
                <a:ext uri="{FF2B5EF4-FFF2-40B4-BE49-F238E27FC236}">
                  <a16:creationId xmlns:a16="http://schemas.microsoft.com/office/drawing/2014/main" id="{27812AF3-C333-6385-08C1-BC8FB09934C8}"/>
                </a:ext>
              </a:extLst>
            </p:cNvPr>
            <p:cNvGrpSpPr/>
            <p:nvPr/>
          </p:nvGrpSpPr>
          <p:grpSpPr>
            <a:xfrm>
              <a:off x="7922379" y="2369064"/>
              <a:ext cx="778829" cy="721692"/>
              <a:chOff x="3409768" y="2600757"/>
              <a:chExt cx="1571305" cy="1560279"/>
            </a:xfrm>
          </p:grpSpPr>
          <p:pic>
            <p:nvPicPr>
              <p:cNvPr id="2061" name="Picture 2060">
                <a:extLst>
                  <a:ext uri="{FF2B5EF4-FFF2-40B4-BE49-F238E27FC236}">
                    <a16:creationId xmlns:a16="http://schemas.microsoft.com/office/drawing/2014/main" id="{0EA46D97-700E-B7C4-AD88-7CD9A56E662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3987546" y="2600757"/>
                <a:ext cx="993527" cy="126704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62" name="Picture 2061" descr="A white robot with a black background&#10;&#10;Description automatically generated">
                <a:extLst>
                  <a:ext uri="{FF2B5EF4-FFF2-40B4-BE49-F238E27FC236}">
                    <a16:creationId xmlns:a16="http://schemas.microsoft.com/office/drawing/2014/main" id="{45C70D13-C710-067D-62BB-2C1A1DE2D18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09768" y="3005480"/>
                <a:ext cx="1155556" cy="1155556"/>
              </a:xfrm>
              <a:prstGeom prst="rect">
                <a:avLst/>
              </a:prstGeom>
            </p:spPr>
          </p:pic>
        </p:grpSp>
        <p:sp>
          <p:nvSpPr>
            <p:cNvPr id="2067" name="Rectangle: Rounded Corners 2066">
              <a:extLst>
                <a:ext uri="{FF2B5EF4-FFF2-40B4-BE49-F238E27FC236}">
                  <a16:creationId xmlns:a16="http://schemas.microsoft.com/office/drawing/2014/main" id="{289D8543-FB4B-2075-CC01-036ACCD94B0F}"/>
                </a:ext>
              </a:extLst>
            </p:cNvPr>
            <p:cNvSpPr/>
            <p:nvPr/>
          </p:nvSpPr>
          <p:spPr>
            <a:xfrm>
              <a:off x="7847850" y="2300529"/>
              <a:ext cx="984668" cy="750646"/>
            </a:xfrm>
            <a:custGeom>
              <a:avLst/>
              <a:gdLst>
                <a:gd name="connsiteX0" fmla="*/ 0 w 984668"/>
                <a:gd name="connsiteY0" fmla="*/ 125110 h 750646"/>
                <a:gd name="connsiteX1" fmla="*/ 125110 w 984668"/>
                <a:gd name="connsiteY1" fmla="*/ 0 h 750646"/>
                <a:gd name="connsiteX2" fmla="*/ 507023 w 984668"/>
                <a:gd name="connsiteY2" fmla="*/ 0 h 750646"/>
                <a:gd name="connsiteX3" fmla="*/ 859558 w 984668"/>
                <a:gd name="connsiteY3" fmla="*/ 0 h 750646"/>
                <a:gd name="connsiteX4" fmla="*/ 984668 w 984668"/>
                <a:gd name="connsiteY4" fmla="*/ 125110 h 750646"/>
                <a:gd name="connsiteX5" fmla="*/ 984668 w 984668"/>
                <a:gd name="connsiteY5" fmla="*/ 625536 h 750646"/>
                <a:gd name="connsiteX6" fmla="*/ 859558 w 984668"/>
                <a:gd name="connsiteY6" fmla="*/ 750646 h 750646"/>
                <a:gd name="connsiteX7" fmla="*/ 492334 w 984668"/>
                <a:gd name="connsiteY7" fmla="*/ 750646 h 750646"/>
                <a:gd name="connsiteX8" fmla="*/ 125110 w 984668"/>
                <a:gd name="connsiteY8" fmla="*/ 750646 h 750646"/>
                <a:gd name="connsiteX9" fmla="*/ 0 w 984668"/>
                <a:gd name="connsiteY9" fmla="*/ 625536 h 750646"/>
                <a:gd name="connsiteX10" fmla="*/ 0 w 984668"/>
                <a:gd name="connsiteY10" fmla="*/ 125110 h 750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84668" h="750646" extrusionOk="0">
                  <a:moveTo>
                    <a:pt x="0" y="125110"/>
                  </a:moveTo>
                  <a:cubicBezTo>
                    <a:pt x="-9580" y="50105"/>
                    <a:pt x="52322" y="1386"/>
                    <a:pt x="125110" y="0"/>
                  </a:cubicBezTo>
                  <a:cubicBezTo>
                    <a:pt x="289853" y="-6597"/>
                    <a:pt x="417927" y="13616"/>
                    <a:pt x="507023" y="0"/>
                  </a:cubicBezTo>
                  <a:cubicBezTo>
                    <a:pt x="596119" y="-13616"/>
                    <a:pt x="699562" y="-12076"/>
                    <a:pt x="859558" y="0"/>
                  </a:cubicBezTo>
                  <a:cubicBezTo>
                    <a:pt x="913737" y="-8162"/>
                    <a:pt x="999580" y="63139"/>
                    <a:pt x="984668" y="125110"/>
                  </a:cubicBezTo>
                  <a:cubicBezTo>
                    <a:pt x="988017" y="304907"/>
                    <a:pt x="960285" y="418914"/>
                    <a:pt x="984668" y="625536"/>
                  </a:cubicBezTo>
                  <a:cubicBezTo>
                    <a:pt x="987412" y="690166"/>
                    <a:pt x="924914" y="753933"/>
                    <a:pt x="859558" y="750646"/>
                  </a:cubicBezTo>
                  <a:cubicBezTo>
                    <a:pt x="698694" y="766720"/>
                    <a:pt x="644692" y="749982"/>
                    <a:pt x="492334" y="750646"/>
                  </a:cubicBezTo>
                  <a:cubicBezTo>
                    <a:pt x="339976" y="751310"/>
                    <a:pt x="209810" y="739942"/>
                    <a:pt x="125110" y="750646"/>
                  </a:cubicBezTo>
                  <a:cubicBezTo>
                    <a:pt x="45398" y="750039"/>
                    <a:pt x="827" y="692364"/>
                    <a:pt x="0" y="625536"/>
                  </a:cubicBezTo>
                  <a:cubicBezTo>
                    <a:pt x="12099" y="513508"/>
                    <a:pt x="-17618" y="305814"/>
                    <a:pt x="0" y="125110"/>
                  </a:cubicBezTo>
                  <a:close/>
                </a:path>
              </a:pathLst>
            </a:custGeom>
            <a:noFill/>
            <a:ln w="38100">
              <a:solidFill>
                <a:srgbClr val="D01012"/>
              </a:solidFill>
              <a:prstDash val="sysDot"/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/>
              <a:endParaRPr lang="en-US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330376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Azure Template Custom U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3071" y="1507055"/>
            <a:ext cx="9725984" cy="69455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By default, the Portal will create a simple user experience. To provide a richer, more robust experience you can create your own for Azure Portal deployments.</a:t>
            </a:r>
            <a:endParaRPr lang="en-US" sz="2000" b="1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16386" name="Picture 2">
            <a:extLst>
              <a:ext uri="{FF2B5EF4-FFF2-40B4-BE49-F238E27FC236}">
                <a16:creationId xmlns:a16="http://schemas.microsoft.com/office/drawing/2014/main" id="{54088610-96F7-0299-5CFD-CE46B4331C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907" y="2432930"/>
            <a:ext cx="984667" cy="984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34DC775C-FE86-F5DC-F3D1-D5E2D253A742}"/>
              </a:ext>
            </a:extLst>
          </p:cNvPr>
          <p:cNvSpPr/>
          <p:nvPr/>
        </p:nvSpPr>
        <p:spPr>
          <a:xfrm>
            <a:off x="613071" y="2531059"/>
            <a:ext cx="3950243" cy="3401138"/>
          </a:xfrm>
          <a:custGeom>
            <a:avLst/>
            <a:gdLst>
              <a:gd name="connsiteX0" fmla="*/ 0 w 3950243"/>
              <a:gd name="connsiteY0" fmla="*/ 566868 h 3401138"/>
              <a:gd name="connsiteX1" fmla="*/ 566868 w 3950243"/>
              <a:gd name="connsiteY1" fmla="*/ 0 h 3401138"/>
              <a:gd name="connsiteX2" fmla="*/ 1186500 w 3950243"/>
              <a:gd name="connsiteY2" fmla="*/ 0 h 3401138"/>
              <a:gd name="connsiteX3" fmla="*/ 1721636 w 3950243"/>
              <a:gd name="connsiteY3" fmla="*/ 0 h 3401138"/>
              <a:gd name="connsiteX4" fmla="*/ 2228607 w 3950243"/>
              <a:gd name="connsiteY4" fmla="*/ 0 h 3401138"/>
              <a:gd name="connsiteX5" fmla="*/ 2820074 w 3950243"/>
              <a:gd name="connsiteY5" fmla="*/ 0 h 3401138"/>
              <a:gd name="connsiteX6" fmla="*/ 3383375 w 3950243"/>
              <a:gd name="connsiteY6" fmla="*/ 0 h 3401138"/>
              <a:gd name="connsiteX7" fmla="*/ 3950243 w 3950243"/>
              <a:gd name="connsiteY7" fmla="*/ 566868 h 3401138"/>
              <a:gd name="connsiteX8" fmla="*/ 3950243 w 3950243"/>
              <a:gd name="connsiteY8" fmla="*/ 1133719 h 3401138"/>
              <a:gd name="connsiteX9" fmla="*/ 3950243 w 3950243"/>
              <a:gd name="connsiteY9" fmla="*/ 1632547 h 3401138"/>
              <a:gd name="connsiteX10" fmla="*/ 3950243 w 3950243"/>
              <a:gd name="connsiteY10" fmla="*/ 2199397 h 3401138"/>
              <a:gd name="connsiteX11" fmla="*/ 3950243 w 3950243"/>
              <a:gd name="connsiteY11" fmla="*/ 2834270 h 3401138"/>
              <a:gd name="connsiteX12" fmla="*/ 3383375 w 3950243"/>
              <a:gd name="connsiteY12" fmla="*/ 3401138 h 3401138"/>
              <a:gd name="connsiteX13" fmla="*/ 2820074 w 3950243"/>
              <a:gd name="connsiteY13" fmla="*/ 3401138 h 3401138"/>
              <a:gd name="connsiteX14" fmla="*/ 2313102 w 3950243"/>
              <a:gd name="connsiteY14" fmla="*/ 3401138 h 3401138"/>
              <a:gd name="connsiteX15" fmla="*/ 1749801 w 3950243"/>
              <a:gd name="connsiteY15" fmla="*/ 3401138 h 3401138"/>
              <a:gd name="connsiteX16" fmla="*/ 1130169 w 3950243"/>
              <a:gd name="connsiteY16" fmla="*/ 3401138 h 3401138"/>
              <a:gd name="connsiteX17" fmla="*/ 566868 w 3950243"/>
              <a:gd name="connsiteY17" fmla="*/ 3401138 h 3401138"/>
              <a:gd name="connsiteX18" fmla="*/ 0 w 3950243"/>
              <a:gd name="connsiteY18" fmla="*/ 2834270 h 3401138"/>
              <a:gd name="connsiteX19" fmla="*/ 0 w 3950243"/>
              <a:gd name="connsiteY19" fmla="*/ 2312768 h 3401138"/>
              <a:gd name="connsiteX20" fmla="*/ 0 w 3950243"/>
              <a:gd name="connsiteY20" fmla="*/ 1745917 h 3401138"/>
              <a:gd name="connsiteX21" fmla="*/ 0 w 3950243"/>
              <a:gd name="connsiteY21" fmla="*/ 1224415 h 3401138"/>
              <a:gd name="connsiteX22" fmla="*/ 0 w 3950243"/>
              <a:gd name="connsiteY22" fmla="*/ 566868 h 340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50243" h="3401138" extrusionOk="0">
                <a:moveTo>
                  <a:pt x="0" y="566868"/>
                </a:moveTo>
                <a:cubicBezTo>
                  <a:pt x="-10161" y="247527"/>
                  <a:pt x="224591" y="10961"/>
                  <a:pt x="566868" y="0"/>
                </a:cubicBezTo>
                <a:cubicBezTo>
                  <a:pt x="747352" y="-461"/>
                  <a:pt x="913983" y="819"/>
                  <a:pt x="1186500" y="0"/>
                </a:cubicBezTo>
                <a:cubicBezTo>
                  <a:pt x="1459017" y="-819"/>
                  <a:pt x="1597586" y="-11433"/>
                  <a:pt x="1721636" y="0"/>
                </a:cubicBezTo>
                <a:cubicBezTo>
                  <a:pt x="1845686" y="11433"/>
                  <a:pt x="2018474" y="-23792"/>
                  <a:pt x="2228607" y="0"/>
                </a:cubicBezTo>
                <a:cubicBezTo>
                  <a:pt x="2438740" y="23792"/>
                  <a:pt x="2658505" y="11076"/>
                  <a:pt x="2820074" y="0"/>
                </a:cubicBezTo>
                <a:cubicBezTo>
                  <a:pt x="2981643" y="-11076"/>
                  <a:pt x="3220626" y="15773"/>
                  <a:pt x="3383375" y="0"/>
                </a:cubicBezTo>
                <a:cubicBezTo>
                  <a:pt x="3736664" y="-65446"/>
                  <a:pt x="3907410" y="291436"/>
                  <a:pt x="3950243" y="566868"/>
                </a:cubicBezTo>
                <a:cubicBezTo>
                  <a:pt x="3924156" y="786917"/>
                  <a:pt x="3933587" y="925958"/>
                  <a:pt x="3950243" y="1133719"/>
                </a:cubicBezTo>
                <a:cubicBezTo>
                  <a:pt x="3966899" y="1341480"/>
                  <a:pt x="3952864" y="1501939"/>
                  <a:pt x="3950243" y="1632547"/>
                </a:cubicBezTo>
                <a:cubicBezTo>
                  <a:pt x="3947622" y="1763155"/>
                  <a:pt x="3931118" y="2047385"/>
                  <a:pt x="3950243" y="2199397"/>
                </a:cubicBezTo>
                <a:cubicBezTo>
                  <a:pt x="3969369" y="2351409"/>
                  <a:pt x="3948295" y="2618066"/>
                  <a:pt x="3950243" y="2834270"/>
                </a:cubicBezTo>
                <a:cubicBezTo>
                  <a:pt x="3988033" y="3110000"/>
                  <a:pt x="3721780" y="3384803"/>
                  <a:pt x="3383375" y="3401138"/>
                </a:cubicBezTo>
                <a:cubicBezTo>
                  <a:pt x="3250224" y="3405361"/>
                  <a:pt x="3001634" y="3394571"/>
                  <a:pt x="2820074" y="3401138"/>
                </a:cubicBezTo>
                <a:cubicBezTo>
                  <a:pt x="2638514" y="3407705"/>
                  <a:pt x="2556441" y="3401035"/>
                  <a:pt x="2313102" y="3401138"/>
                </a:cubicBezTo>
                <a:cubicBezTo>
                  <a:pt x="2069763" y="3401241"/>
                  <a:pt x="1996553" y="3375595"/>
                  <a:pt x="1749801" y="3401138"/>
                </a:cubicBezTo>
                <a:cubicBezTo>
                  <a:pt x="1503049" y="3426681"/>
                  <a:pt x="1289956" y="3416195"/>
                  <a:pt x="1130169" y="3401138"/>
                </a:cubicBezTo>
                <a:cubicBezTo>
                  <a:pt x="970382" y="3386081"/>
                  <a:pt x="816758" y="3391071"/>
                  <a:pt x="566868" y="3401138"/>
                </a:cubicBezTo>
                <a:cubicBezTo>
                  <a:pt x="236104" y="3432770"/>
                  <a:pt x="6058" y="3151845"/>
                  <a:pt x="0" y="2834270"/>
                </a:cubicBezTo>
                <a:cubicBezTo>
                  <a:pt x="-13909" y="2602595"/>
                  <a:pt x="-21376" y="2523221"/>
                  <a:pt x="0" y="2312768"/>
                </a:cubicBezTo>
                <a:cubicBezTo>
                  <a:pt x="21376" y="2102315"/>
                  <a:pt x="11788" y="1978446"/>
                  <a:pt x="0" y="1745917"/>
                </a:cubicBezTo>
                <a:cubicBezTo>
                  <a:pt x="-11788" y="1513388"/>
                  <a:pt x="-10196" y="1460998"/>
                  <a:pt x="0" y="1224415"/>
                </a:cubicBezTo>
                <a:cubicBezTo>
                  <a:pt x="10196" y="987832"/>
                  <a:pt x="-20069" y="756879"/>
                  <a:pt x="0" y="566868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6136E1C-7F3A-BA3F-FC0C-C01F84635983}"/>
              </a:ext>
            </a:extLst>
          </p:cNvPr>
          <p:cNvSpPr txBox="1"/>
          <p:nvPr/>
        </p:nvSpPr>
        <p:spPr>
          <a:xfrm>
            <a:off x="637034" y="3423800"/>
            <a:ext cx="18678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/</a:t>
            </a:r>
            <a:r>
              <a:rPr lang="en-US" dirty="0" err="1"/>
              <a:t>bicepModules</a:t>
            </a:r>
            <a:r>
              <a:rPr lang="en-US" dirty="0"/>
              <a:t>/…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2651B7D-662C-F793-8FDA-FCDC154CCB52}"/>
              </a:ext>
            </a:extLst>
          </p:cNvPr>
          <p:cNvSpPr txBox="1"/>
          <p:nvPr/>
        </p:nvSpPr>
        <p:spPr>
          <a:xfrm>
            <a:off x="630962" y="3919372"/>
            <a:ext cx="3925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/</a:t>
            </a:r>
            <a:r>
              <a:rPr lang="en-US" dirty="0" err="1"/>
              <a:t>templateSpecs</a:t>
            </a:r>
            <a:r>
              <a:rPr lang="en-US" dirty="0"/>
              <a:t>/&lt;name&gt;/&lt;name&gt;.bicep</a:t>
            </a: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3D8DB2C7-41BF-F19B-6274-7171139B9E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7007" y="2474871"/>
            <a:ext cx="824608" cy="824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FE48ED0D-8310-E6BC-DEF4-708A608CC621}"/>
              </a:ext>
            </a:extLst>
          </p:cNvPr>
          <p:cNvSpPr/>
          <p:nvPr/>
        </p:nvSpPr>
        <p:spPr>
          <a:xfrm>
            <a:off x="5010637" y="2531059"/>
            <a:ext cx="2479921" cy="3401138"/>
          </a:xfrm>
          <a:custGeom>
            <a:avLst/>
            <a:gdLst>
              <a:gd name="connsiteX0" fmla="*/ 0 w 2479921"/>
              <a:gd name="connsiteY0" fmla="*/ 413328 h 3401138"/>
              <a:gd name="connsiteX1" fmla="*/ 413328 w 2479921"/>
              <a:gd name="connsiteY1" fmla="*/ 0 h 3401138"/>
              <a:gd name="connsiteX2" fmla="*/ 997482 w 2479921"/>
              <a:gd name="connsiteY2" fmla="*/ 0 h 3401138"/>
              <a:gd name="connsiteX3" fmla="*/ 1532037 w 2479921"/>
              <a:gd name="connsiteY3" fmla="*/ 0 h 3401138"/>
              <a:gd name="connsiteX4" fmla="*/ 2066593 w 2479921"/>
              <a:gd name="connsiteY4" fmla="*/ 0 h 3401138"/>
              <a:gd name="connsiteX5" fmla="*/ 2479921 w 2479921"/>
              <a:gd name="connsiteY5" fmla="*/ 413328 h 3401138"/>
              <a:gd name="connsiteX6" fmla="*/ 2479921 w 2479921"/>
              <a:gd name="connsiteY6" fmla="*/ 1005459 h 3401138"/>
              <a:gd name="connsiteX7" fmla="*/ 2479921 w 2479921"/>
              <a:gd name="connsiteY7" fmla="*/ 1597590 h 3401138"/>
              <a:gd name="connsiteX8" fmla="*/ 2479921 w 2479921"/>
              <a:gd name="connsiteY8" fmla="*/ 2292700 h 3401138"/>
              <a:gd name="connsiteX9" fmla="*/ 2479921 w 2479921"/>
              <a:gd name="connsiteY9" fmla="*/ 2987810 h 3401138"/>
              <a:gd name="connsiteX10" fmla="*/ 2066593 w 2479921"/>
              <a:gd name="connsiteY10" fmla="*/ 3401138 h 3401138"/>
              <a:gd name="connsiteX11" fmla="*/ 1498972 w 2479921"/>
              <a:gd name="connsiteY11" fmla="*/ 3401138 h 3401138"/>
              <a:gd name="connsiteX12" fmla="*/ 914818 w 2479921"/>
              <a:gd name="connsiteY12" fmla="*/ 3401138 h 3401138"/>
              <a:gd name="connsiteX13" fmla="*/ 413328 w 2479921"/>
              <a:gd name="connsiteY13" fmla="*/ 3401138 h 3401138"/>
              <a:gd name="connsiteX14" fmla="*/ 0 w 2479921"/>
              <a:gd name="connsiteY14" fmla="*/ 2987810 h 3401138"/>
              <a:gd name="connsiteX15" fmla="*/ 0 w 2479921"/>
              <a:gd name="connsiteY15" fmla="*/ 2318445 h 3401138"/>
              <a:gd name="connsiteX16" fmla="*/ 0 w 2479921"/>
              <a:gd name="connsiteY16" fmla="*/ 1674824 h 3401138"/>
              <a:gd name="connsiteX17" fmla="*/ 0 w 2479921"/>
              <a:gd name="connsiteY17" fmla="*/ 1108438 h 3401138"/>
              <a:gd name="connsiteX18" fmla="*/ 0 w 2479921"/>
              <a:gd name="connsiteY18" fmla="*/ 413328 h 340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479921" h="3401138" extrusionOk="0">
                <a:moveTo>
                  <a:pt x="0" y="413328"/>
                </a:moveTo>
                <a:cubicBezTo>
                  <a:pt x="-42586" y="158785"/>
                  <a:pt x="169361" y="5889"/>
                  <a:pt x="413328" y="0"/>
                </a:cubicBezTo>
                <a:cubicBezTo>
                  <a:pt x="700796" y="20908"/>
                  <a:pt x="821384" y="-20062"/>
                  <a:pt x="997482" y="0"/>
                </a:cubicBezTo>
                <a:cubicBezTo>
                  <a:pt x="1173580" y="20062"/>
                  <a:pt x="1405573" y="-4502"/>
                  <a:pt x="1532037" y="0"/>
                </a:cubicBezTo>
                <a:cubicBezTo>
                  <a:pt x="1658501" y="4502"/>
                  <a:pt x="1904853" y="-17499"/>
                  <a:pt x="2066593" y="0"/>
                </a:cubicBezTo>
                <a:cubicBezTo>
                  <a:pt x="2292777" y="-6735"/>
                  <a:pt x="2493051" y="136464"/>
                  <a:pt x="2479921" y="413328"/>
                </a:cubicBezTo>
                <a:cubicBezTo>
                  <a:pt x="2487557" y="608156"/>
                  <a:pt x="2473129" y="752772"/>
                  <a:pt x="2479921" y="1005459"/>
                </a:cubicBezTo>
                <a:cubicBezTo>
                  <a:pt x="2486713" y="1258146"/>
                  <a:pt x="2496994" y="1452933"/>
                  <a:pt x="2479921" y="1597590"/>
                </a:cubicBezTo>
                <a:cubicBezTo>
                  <a:pt x="2462848" y="1742247"/>
                  <a:pt x="2484196" y="1971126"/>
                  <a:pt x="2479921" y="2292700"/>
                </a:cubicBezTo>
                <a:cubicBezTo>
                  <a:pt x="2475647" y="2614274"/>
                  <a:pt x="2452823" y="2685940"/>
                  <a:pt x="2479921" y="2987810"/>
                </a:cubicBezTo>
                <a:cubicBezTo>
                  <a:pt x="2425020" y="3212945"/>
                  <a:pt x="2296802" y="3395835"/>
                  <a:pt x="2066593" y="3401138"/>
                </a:cubicBezTo>
                <a:cubicBezTo>
                  <a:pt x="1842210" y="3407192"/>
                  <a:pt x="1728370" y="3392358"/>
                  <a:pt x="1498972" y="3401138"/>
                </a:cubicBezTo>
                <a:cubicBezTo>
                  <a:pt x="1269574" y="3409918"/>
                  <a:pt x="1073950" y="3410995"/>
                  <a:pt x="914818" y="3401138"/>
                </a:cubicBezTo>
                <a:cubicBezTo>
                  <a:pt x="755686" y="3391281"/>
                  <a:pt x="542302" y="3414681"/>
                  <a:pt x="413328" y="3401138"/>
                </a:cubicBezTo>
                <a:cubicBezTo>
                  <a:pt x="175064" y="3402778"/>
                  <a:pt x="-36904" y="3190622"/>
                  <a:pt x="0" y="2987810"/>
                </a:cubicBezTo>
                <a:cubicBezTo>
                  <a:pt x="-20756" y="2719592"/>
                  <a:pt x="23264" y="2639730"/>
                  <a:pt x="0" y="2318445"/>
                </a:cubicBezTo>
                <a:cubicBezTo>
                  <a:pt x="-23264" y="1997160"/>
                  <a:pt x="-26551" y="1970651"/>
                  <a:pt x="0" y="1674824"/>
                </a:cubicBezTo>
                <a:cubicBezTo>
                  <a:pt x="26551" y="1378997"/>
                  <a:pt x="-19951" y="1277372"/>
                  <a:pt x="0" y="1108438"/>
                </a:cubicBezTo>
                <a:cubicBezTo>
                  <a:pt x="19951" y="939504"/>
                  <a:pt x="26617" y="601720"/>
                  <a:pt x="0" y="413328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2F5A9E8-DD22-7D5B-235A-CA9BAB1514C5}"/>
              </a:ext>
            </a:extLst>
          </p:cNvPr>
          <p:cNvSpPr txBox="1"/>
          <p:nvPr/>
        </p:nvSpPr>
        <p:spPr>
          <a:xfrm>
            <a:off x="5097007" y="3571271"/>
            <a:ext cx="21751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/pipelines/TS-</a:t>
            </a:r>
            <a:r>
              <a:rPr lang="en-US" dirty="0" err="1"/>
              <a:t>CI.yaml</a:t>
            </a:r>
            <a:endParaRPr lang="en-US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E13A1DA-7852-C14C-0C44-FEDC3426BC9B}"/>
              </a:ext>
            </a:extLst>
          </p:cNvPr>
          <p:cNvSpPr txBox="1"/>
          <p:nvPr/>
        </p:nvSpPr>
        <p:spPr>
          <a:xfrm>
            <a:off x="5097007" y="4027729"/>
            <a:ext cx="22547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/pipelines/TS-</a:t>
            </a:r>
            <a:r>
              <a:rPr lang="en-US" dirty="0" err="1"/>
              <a:t>CD.yaml</a:t>
            </a:r>
            <a:endParaRPr lang="en-US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822E61F-8769-DC33-2533-3FC5B62F51F8}"/>
              </a:ext>
            </a:extLst>
          </p:cNvPr>
          <p:cNvSpPr txBox="1"/>
          <p:nvPr/>
        </p:nvSpPr>
        <p:spPr>
          <a:xfrm>
            <a:off x="5097007" y="4518119"/>
            <a:ext cx="19011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/scripts/TS-CD.ps1</a:t>
            </a:r>
          </a:p>
        </p:txBody>
      </p:sp>
      <p:grpSp>
        <p:nvGrpSpPr>
          <p:cNvPr id="2057" name="Group 2056">
            <a:extLst>
              <a:ext uri="{FF2B5EF4-FFF2-40B4-BE49-F238E27FC236}">
                <a16:creationId xmlns:a16="http://schemas.microsoft.com/office/drawing/2014/main" id="{1A6D87DC-BE9E-88EA-423F-218541B67B6C}"/>
              </a:ext>
            </a:extLst>
          </p:cNvPr>
          <p:cNvGrpSpPr/>
          <p:nvPr/>
        </p:nvGrpSpPr>
        <p:grpSpPr>
          <a:xfrm>
            <a:off x="10452220" y="11685"/>
            <a:ext cx="1175537" cy="1944560"/>
            <a:chOff x="10452220" y="11685"/>
            <a:chExt cx="1175537" cy="1944560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48F7B265-C444-CEA4-70C7-617EFAC348DE}"/>
                </a:ext>
              </a:extLst>
            </p:cNvPr>
            <p:cNvSpPr/>
            <p:nvPr/>
          </p:nvSpPr>
          <p:spPr>
            <a:xfrm>
              <a:off x="10452220" y="11685"/>
              <a:ext cx="1175537" cy="1385657"/>
            </a:xfrm>
            <a:prstGeom prst="rect">
              <a:avLst/>
            </a:prstGeom>
            <a:solidFill>
              <a:srgbClr val="D01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B0B1641E-4104-29E0-E3EF-B800B1F33E35}"/>
                </a:ext>
              </a:extLst>
            </p:cNvPr>
            <p:cNvSpPr/>
            <p:nvPr/>
          </p:nvSpPr>
          <p:spPr>
            <a:xfrm>
              <a:off x="10452220" y="780708"/>
              <a:ext cx="1175537" cy="1175537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F979CCA2-A25C-CBDB-F0D0-5C203551B054}"/>
                </a:ext>
              </a:extLst>
            </p:cNvPr>
            <p:cNvSpPr/>
            <p:nvPr/>
          </p:nvSpPr>
          <p:spPr>
            <a:xfrm>
              <a:off x="10672318" y="1003519"/>
              <a:ext cx="729915" cy="7299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F5162046-BF55-16D1-C778-00B74E8C2AD9}"/>
                </a:ext>
              </a:extLst>
            </p:cNvPr>
            <p:cNvGrpSpPr/>
            <p:nvPr/>
          </p:nvGrpSpPr>
          <p:grpSpPr>
            <a:xfrm>
              <a:off x="10842995" y="1184484"/>
              <a:ext cx="388560" cy="367985"/>
              <a:chOff x="2805113" y="2247901"/>
              <a:chExt cx="779462" cy="738188"/>
            </a:xfrm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grpSpPr>
          <p:sp>
            <p:nvSpPr>
              <p:cNvPr id="59" name="Freeform 78">
                <a:extLst>
                  <a:ext uri="{FF2B5EF4-FFF2-40B4-BE49-F238E27FC236}">
                    <a16:creationId xmlns:a16="http://schemas.microsoft.com/office/drawing/2014/main" id="{0EA7BEBA-4867-8232-BC4C-3BF44F8311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6725" y="2247901"/>
                <a:ext cx="577850" cy="738188"/>
              </a:xfrm>
              <a:custGeom>
                <a:avLst/>
                <a:gdLst>
                  <a:gd name="T0" fmla="*/ 115 w 153"/>
                  <a:gd name="T1" fmla="*/ 0 h 195"/>
                  <a:gd name="T2" fmla="*/ 6 w 153"/>
                  <a:gd name="T3" fmla="*/ 0 h 195"/>
                  <a:gd name="T4" fmla="*/ 0 w 153"/>
                  <a:gd name="T5" fmla="*/ 7 h 195"/>
                  <a:gd name="T6" fmla="*/ 0 w 153"/>
                  <a:gd name="T7" fmla="*/ 195 h 195"/>
                  <a:gd name="T8" fmla="*/ 153 w 153"/>
                  <a:gd name="T9" fmla="*/ 195 h 195"/>
                  <a:gd name="T10" fmla="*/ 153 w 153"/>
                  <a:gd name="T11" fmla="*/ 39 h 195"/>
                  <a:gd name="T12" fmla="*/ 115 w 153"/>
                  <a:gd name="T13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3" h="195">
                    <a:moveTo>
                      <a:pt x="115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195"/>
                      <a:pt x="0" y="195"/>
                      <a:pt x="0" y="195"/>
                    </a:cubicBezTo>
                    <a:cubicBezTo>
                      <a:pt x="153" y="195"/>
                      <a:pt x="153" y="195"/>
                      <a:pt x="153" y="195"/>
                    </a:cubicBezTo>
                    <a:cubicBezTo>
                      <a:pt x="153" y="39"/>
                      <a:pt x="153" y="39"/>
                      <a:pt x="153" y="39"/>
                    </a:cubicBez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0" name="Freeform 79">
                <a:extLst>
                  <a:ext uri="{FF2B5EF4-FFF2-40B4-BE49-F238E27FC236}">
                    <a16:creationId xmlns:a16="http://schemas.microsoft.com/office/drawing/2014/main" id="{539F17CE-7019-84BD-E183-4AD969F59B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1700" y="2247901"/>
                <a:ext cx="142875" cy="147638"/>
              </a:xfrm>
              <a:custGeom>
                <a:avLst/>
                <a:gdLst>
                  <a:gd name="T0" fmla="*/ 0 w 90"/>
                  <a:gd name="T1" fmla="*/ 0 h 93"/>
                  <a:gd name="T2" fmla="*/ 0 w 90"/>
                  <a:gd name="T3" fmla="*/ 93 h 93"/>
                  <a:gd name="T4" fmla="*/ 90 w 90"/>
                  <a:gd name="T5" fmla="*/ 93 h 93"/>
                  <a:gd name="T6" fmla="*/ 0 w 90"/>
                  <a:gd name="T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0" h="93">
                    <a:moveTo>
                      <a:pt x="0" y="0"/>
                    </a:moveTo>
                    <a:lnTo>
                      <a:pt x="0" y="93"/>
                    </a:lnTo>
                    <a:lnTo>
                      <a:pt x="90" y="9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1" name="Freeform 80">
                <a:extLst>
                  <a:ext uri="{FF2B5EF4-FFF2-40B4-BE49-F238E27FC236}">
                    <a16:creationId xmlns:a16="http://schemas.microsoft.com/office/drawing/2014/main" id="{F855838B-E3CE-7BB3-502D-DE764F1866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419351"/>
                <a:ext cx="242888" cy="22225"/>
              </a:xfrm>
              <a:custGeom>
                <a:avLst/>
                <a:gdLst>
                  <a:gd name="T0" fmla="*/ 64 w 64"/>
                  <a:gd name="T1" fmla="*/ 3 h 6"/>
                  <a:gd name="T2" fmla="*/ 61 w 64"/>
                  <a:gd name="T3" fmla="*/ 6 h 6"/>
                  <a:gd name="T4" fmla="*/ 4 w 64"/>
                  <a:gd name="T5" fmla="*/ 6 h 6"/>
                  <a:gd name="T6" fmla="*/ 0 w 64"/>
                  <a:gd name="T7" fmla="*/ 3 h 6"/>
                  <a:gd name="T8" fmla="*/ 4 w 64"/>
                  <a:gd name="T9" fmla="*/ 0 h 6"/>
                  <a:gd name="T10" fmla="*/ 61 w 64"/>
                  <a:gd name="T11" fmla="*/ 0 h 6"/>
                  <a:gd name="T12" fmla="*/ 64 w 64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6">
                    <a:moveTo>
                      <a:pt x="64" y="3"/>
                    </a:moveTo>
                    <a:cubicBezTo>
                      <a:pt x="64" y="5"/>
                      <a:pt x="63" y="6"/>
                      <a:pt x="61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63" y="0"/>
                      <a:pt x="64" y="1"/>
                      <a:pt x="64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2" name="Freeform 81">
                <a:extLst>
                  <a:ext uri="{FF2B5EF4-FFF2-40B4-BE49-F238E27FC236}">
                    <a16:creationId xmlns:a16="http://schemas.microsoft.com/office/drawing/2014/main" id="{E757ED09-42E8-0E89-4C5C-10FD70AF05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516188"/>
                <a:ext cx="390525" cy="23813"/>
              </a:xfrm>
              <a:custGeom>
                <a:avLst/>
                <a:gdLst>
                  <a:gd name="T0" fmla="*/ 103 w 103"/>
                  <a:gd name="T1" fmla="*/ 3 h 6"/>
                  <a:gd name="T2" fmla="*/ 100 w 103"/>
                  <a:gd name="T3" fmla="*/ 6 h 6"/>
                  <a:gd name="T4" fmla="*/ 4 w 103"/>
                  <a:gd name="T5" fmla="*/ 6 h 6"/>
                  <a:gd name="T6" fmla="*/ 0 w 103"/>
                  <a:gd name="T7" fmla="*/ 3 h 6"/>
                  <a:gd name="T8" fmla="*/ 4 w 103"/>
                  <a:gd name="T9" fmla="*/ 0 h 6"/>
                  <a:gd name="T10" fmla="*/ 100 w 103"/>
                  <a:gd name="T11" fmla="*/ 0 h 6"/>
                  <a:gd name="T12" fmla="*/ 103 w 10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3"/>
                    </a:moveTo>
                    <a:cubicBezTo>
                      <a:pt x="103" y="5"/>
                      <a:pt x="101" y="6"/>
                      <a:pt x="10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1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3" name="Freeform 82">
                <a:extLst>
                  <a:ext uri="{FF2B5EF4-FFF2-40B4-BE49-F238E27FC236}">
                    <a16:creationId xmlns:a16="http://schemas.microsoft.com/office/drawing/2014/main" id="{A4D13453-A5D5-1B39-19DC-D0D477FD23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611438"/>
                <a:ext cx="390525" cy="26988"/>
              </a:xfrm>
              <a:custGeom>
                <a:avLst/>
                <a:gdLst>
                  <a:gd name="T0" fmla="*/ 103 w 103"/>
                  <a:gd name="T1" fmla="*/ 3 h 7"/>
                  <a:gd name="T2" fmla="*/ 100 w 103"/>
                  <a:gd name="T3" fmla="*/ 7 h 7"/>
                  <a:gd name="T4" fmla="*/ 4 w 103"/>
                  <a:gd name="T5" fmla="*/ 7 h 7"/>
                  <a:gd name="T6" fmla="*/ 0 w 103"/>
                  <a:gd name="T7" fmla="*/ 3 h 7"/>
                  <a:gd name="T8" fmla="*/ 4 w 103"/>
                  <a:gd name="T9" fmla="*/ 0 h 7"/>
                  <a:gd name="T10" fmla="*/ 100 w 103"/>
                  <a:gd name="T11" fmla="*/ 0 h 7"/>
                  <a:gd name="T12" fmla="*/ 103 w 103"/>
                  <a:gd name="T13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7">
                    <a:moveTo>
                      <a:pt x="103" y="3"/>
                    </a:moveTo>
                    <a:cubicBezTo>
                      <a:pt x="103" y="5"/>
                      <a:pt x="101" y="7"/>
                      <a:pt x="100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2" y="7"/>
                      <a:pt x="0" y="5"/>
                      <a:pt x="0" y="3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2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48" name="Freeform 83">
                <a:extLst>
                  <a:ext uri="{FF2B5EF4-FFF2-40B4-BE49-F238E27FC236}">
                    <a16:creationId xmlns:a16="http://schemas.microsoft.com/office/drawing/2014/main" id="{F7F292A1-E8C7-CB32-1F22-0E886DDF5C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709863"/>
                <a:ext cx="390525" cy="22225"/>
              </a:xfrm>
              <a:custGeom>
                <a:avLst/>
                <a:gdLst>
                  <a:gd name="T0" fmla="*/ 103 w 103"/>
                  <a:gd name="T1" fmla="*/ 3 h 6"/>
                  <a:gd name="T2" fmla="*/ 100 w 103"/>
                  <a:gd name="T3" fmla="*/ 6 h 6"/>
                  <a:gd name="T4" fmla="*/ 4 w 103"/>
                  <a:gd name="T5" fmla="*/ 6 h 6"/>
                  <a:gd name="T6" fmla="*/ 0 w 103"/>
                  <a:gd name="T7" fmla="*/ 3 h 6"/>
                  <a:gd name="T8" fmla="*/ 4 w 103"/>
                  <a:gd name="T9" fmla="*/ 0 h 6"/>
                  <a:gd name="T10" fmla="*/ 100 w 103"/>
                  <a:gd name="T11" fmla="*/ 0 h 6"/>
                  <a:gd name="T12" fmla="*/ 103 w 10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3"/>
                    </a:moveTo>
                    <a:cubicBezTo>
                      <a:pt x="103" y="5"/>
                      <a:pt x="101" y="6"/>
                      <a:pt x="10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1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49" name="Freeform 84">
                <a:extLst>
                  <a:ext uri="{FF2B5EF4-FFF2-40B4-BE49-F238E27FC236}">
                    <a16:creationId xmlns:a16="http://schemas.microsoft.com/office/drawing/2014/main" id="{FB2B5A4B-3781-DE21-4CD1-ECEA080AB1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113" y="2338388"/>
                <a:ext cx="530225" cy="530225"/>
              </a:xfrm>
              <a:custGeom>
                <a:avLst/>
                <a:gdLst>
                  <a:gd name="T0" fmla="*/ 131 w 140"/>
                  <a:gd name="T1" fmla="*/ 90 h 140"/>
                  <a:gd name="T2" fmla="*/ 51 w 140"/>
                  <a:gd name="T3" fmla="*/ 11 h 140"/>
                  <a:gd name="T4" fmla="*/ 49 w 140"/>
                  <a:gd name="T5" fmla="*/ 9 h 140"/>
                  <a:gd name="T6" fmla="*/ 11 w 140"/>
                  <a:gd name="T7" fmla="*/ 11 h 140"/>
                  <a:gd name="T8" fmla="*/ 11 w 140"/>
                  <a:gd name="T9" fmla="*/ 11 h 140"/>
                  <a:gd name="T10" fmla="*/ 9 w 140"/>
                  <a:gd name="T11" fmla="*/ 49 h 140"/>
                  <a:gd name="T12" fmla="*/ 11 w 140"/>
                  <a:gd name="T13" fmla="*/ 52 h 140"/>
                  <a:gd name="T14" fmla="*/ 90 w 140"/>
                  <a:gd name="T15" fmla="*/ 131 h 140"/>
                  <a:gd name="T16" fmla="*/ 122 w 140"/>
                  <a:gd name="T17" fmla="*/ 140 h 140"/>
                  <a:gd name="T18" fmla="*/ 129 w 140"/>
                  <a:gd name="T19" fmla="*/ 129 h 140"/>
                  <a:gd name="T20" fmla="*/ 140 w 140"/>
                  <a:gd name="T21" fmla="*/ 122 h 140"/>
                  <a:gd name="T22" fmla="*/ 131 w 140"/>
                  <a:gd name="T23" fmla="*/ 9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0" h="140">
                    <a:moveTo>
                      <a:pt x="131" y="90"/>
                    </a:moveTo>
                    <a:cubicBezTo>
                      <a:pt x="51" y="11"/>
                      <a:pt x="51" y="11"/>
                      <a:pt x="51" y="11"/>
                    </a:cubicBezTo>
                    <a:cubicBezTo>
                      <a:pt x="51" y="10"/>
                      <a:pt x="50" y="10"/>
                      <a:pt x="49" y="9"/>
                    </a:cubicBezTo>
                    <a:cubicBezTo>
                      <a:pt x="38" y="0"/>
                      <a:pt x="22" y="0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0" y="22"/>
                      <a:pt x="0" y="38"/>
                      <a:pt x="9" y="49"/>
                    </a:cubicBezTo>
                    <a:cubicBezTo>
                      <a:pt x="9" y="50"/>
                      <a:pt x="10" y="51"/>
                      <a:pt x="11" y="52"/>
                    </a:cubicBezTo>
                    <a:cubicBezTo>
                      <a:pt x="90" y="131"/>
                      <a:pt x="90" y="131"/>
                      <a:pt x="90" y="131"/>
                    </a:cubicBezTo>
                    <a:cubicBezTo>
                      <a:pt x="122" y="140"/>
                      <a:pt x="122" y="140"/>
                      <a:pt x="122" y="140"/>
                    </a:cubicBezTo>
                    <a:cubicBezTo>
                      <a:pt x="123" y="136"/>
                      <a:pt x="125" y="132"/>
                      <a:pt x="129" y="129"/>
                    </a:cubicBezTo>
                    <a:cubicBezTo>
                      <a:pt x="132" y="126"/>
                      <a:pt x="136" y="123"/>
                      <a:pt x="140" y="122"/>
                    </a:cubicBezTo>
                    <a:lnTo>
                      <a:pt x="131" y="90"/>
                    </a:lnTo>
                    <a:close/>
                  </a:path>
                </a:pathLst>
              </a:custGeom>
              <a:solidFill>
                <a:srgbClr val="F4D0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51" name="Freeform 85">
                <a:extLst>
                  <a:ext uri="{FF2B5EF4-FFF2-40B4-BE49-F238E27FC236}">
                    <a16:creationId xmlns:a16="http://schemas.microsoft.com/office/drawing/2014/main" id="{FD9A3745-24D7-1345-57D2-778313F59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113" y="2338388"/>
                <a:ext cx="185738" cy="185738"/>
              </a:xfrm>
              <a:custGeom>
                <a:avLst/>
                <a:gdLst>
                  <a:gd name="T0" fmla="*/ 49 w 49"/>
                  <a:gd name="T1" fmla="*/ 9 h 49"/>
                  <a:gd name="T2" fmla="*/ 9 w 49"/>
                  <a:gd name="T3" fmla="*/ 49 h 49"/>
                  <a:gd name="T4" fmla="*/ 11 w 49"/>
                  <a:gd name="T5" fmla="*/ 11 h 49"/>
                  <a:gd name="T6" fmla="*/ 11 w 49"/>
                  <a:gd name="T7" fmla="*/ 11 h 49"/>
                  <a:gd name="T8" fmla="*/ 49 w 49"/>
                  <a:gd name="T9" fmla="*/ 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9">
                    <a:moveTo>
                      <a:pt x="49" y="9"/>
                    </a:moveTo>
                    <a:cubicBezTo>
                      <a:pt x="9" y="49"/>
                      <a:pt x="9" y="49"/>
                      <a:pt x="9" y="49"/>
                    </a:cubicBezTo>
                    <a:cubicBezTo>
                      <a:pt x="0" y="38"/>
                      <a:pt x="0" y="22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22" y="0"/>
                      <a:pt x="38" y="0"/>
                      <a:pt x="49" y="9"/>
                    </a:cubicBezTo>
                    <a:close/>
                  </a:path>
                </a:pathLst>
              </a:custGeom>
              <a:solidFill>
                <a:srgbClr val="F7B4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52" name="Freeform 86">
                <a:extLst>
                  <a:ext uri="{FF2B5EF4-FFF2-40B4-BE49-F238E27FC236}">
                    <a16:creationId xmlns:a16="http://schemas.microsoft.com/office/drawing/2014/main" id="{A11BAF3D-AC8D-8BDA-CD3A-5AB97407F4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7075" y="2800351"/>
                <a:ext cx="90488" cy="90488"/>
              </a:xfrm>
              <a:custGeom>
                <a:avLst/>
                <a:gdLst>
                  <a:gd name="T0" fmla="*/ 18 w 24"/>
                  <a:gd name="T1" fmla="*/ 0 h 24"/>
                  <a:gd name="T2" fmla="*/ 24 w 24"/>
                  <a:gd name="T3" fmla="*/ 21 h 24"/>
                  <a:gd name="T4" fmla="*/ 20 w 24"/>
                  <a:gd name="T5" fmla="*/ 24 h 24"/>
                  <a:gd name="T6" fmla="*/ 0 w 24"/>
                  <a:gd name="T7" fmla="*/ 18 h 24"/>
                  <a:gd name="T8" fmla="*/ 7 w 24"/>
                  <a:gd name="T9" fmla="*/ 7 h 24"/>
                  <a:gd name="T10" fmla="*/ 18 w 24"/>
                  <a:gd name="T1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24">
                    <a:moveTo>
                      <a:pt x="18" y="0"/>
                    </a:moveTo>
                    <a:cubicBezTo>
                      <a:pt x="24" y="21"/>
                      <a:pt x="24" y="21"/>
                      <a:pt x="24" y="21"/>
                    </a:cubicBezTo>
                    <a:cubicBezTo>
                      <a:pt x="24" y="23"/>
                      <a:pt x="22" y="24"/>
                      <a:pt x="20" y="24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1" y="14"/>
                      <a:pt x="3" y="10"/>
                      <a:pt x="7" y="7"/>
                    </a:cubicBezTo>
                    <a:cubicBezTo>
                      <a:pt x="10" y="4"/>
                      <a:pt x="14" y="1"/>
                      <a:pt x="18" y="0"/>
                    </a:cubicBez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53" name="Freeform 87">
                <a:extLst>
                  <a:ext uri="{FF2B5EF4-FFF2-40B4-BE49-F238E27FC236}">
                    <a16:creationId xmlns:a16="http://schemas.microsoft.com/office/drawing/2014/main" id="{E60FC808-121D-C97D-A754-0E75EF8CC5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403476"/>
                <a:ext cx="434975" cy="427038"/>
              </a:xfrm>
              <a:custGeom>
                <a:avLst/>
                <a:gdLst>
                  <a:gd name="T0" fmla="*/ 114 w 115"/>
                  <a:gd name="T1" fmla="*/ 73 h 113"/>
                  <a:gd name="T2" fmla="*/ 41 w 115"/>
                  <a:gd name="T3" fmla="*/ 0 h 113"/>
                  <a:gd name="T4" fmla="*/ 0 w 115"/>
                  <a:gd name="T5" fmla="*/ 40 h 113"/>
                  <a:gd name="T6" fmla="*/ 0 w 115"/>
                  <a:gd name="T7" fmla="*/ 40 h 113"/>
                  <a:gd name="T8" fmla="*/ 73 w 115"/>
                  <a:gd name="T9" fmla="*/ 113 h 113"/>
                  <a:gd name="T10" fmla="*/ 73 w 115"/>
                  <a:gd name="T11" fmla="*/ 113 h 113"/>
                  <a:gd name="T12" fmla="*/ 76 w 115"/>
                  <a:gd name="T13" fmla="*/ 95 h 113"/>
                  <a:gd name="T14" fmla="*/ 94 w 115"/>
                  <a:gd name="T15" fmla="*/ 94 h 113"/>
                  <a:gd name="T16" fmla="*/ 94 w 115"/>
                  <a:gd name="T17" fmla="*/ 93 h 113"/>
                  <a:gd name="T18" fmla="*/ 94 w 115"/>
                  <a:gd name="T19" fmla="*/ 93 h 113"/>
                  <a:gd name="T20" fmla="*/ 96 w 115"/>
                  <a:gd name="T21" fmla="*/ 74 h 113"/>
                  <a:gd name="T22" fmla="*/ 114 w 115"/>
                  <a:gd name="T23" fmla="*/ 73 h 113"/>
                  <a:gd name="T24" fmla="*/ 114 w 115"/>
                  <a:gd name="T25" fmla="*/ 73 h 113"/>
                  <a:gd name="T26" fmla="*/ 114 w 115"/>
                  <a:gd name="T27" fmla="*/ 7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" h="113">
                    <a:moveTo>
                      <a:pt x="114" y="73"/>
                    </a:moveTo>
                    <a:cubicBezTo>
                      <a:pt x="108" y="67"/>
                      <a:pt x="41" y="0"/>
                      <a:pt x="41" y="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64" y="104"/>
                      <a:pt x="73" y="113"/>
                    </a:cubicBezTo>
                    <a:cubicBezTo>
                      <a:pt x="73" y="113"/>
                      <a:pt x="73" y="113"/>
                      <a:pt x="73" y="113"/>
                    </a:cubicBezTo>
                    <a:cubicBezTo>
                      <a:pt x="70" y="108"/>
                      <a:pt x="71" y="100"/>
                      <a:pt x="76" y="95"/>
                    </a:cubicBezTo>
                    <a:cubicBezTo>
                      <a:pt x="81" y="90"/>
                      <a:pt x="89" y="90"/>
                      <a:pt x="94" y="94"/>
                    </a:cubicBezTo>
                    <a:cubicBezTo>
                      <a:pt x="94" y="94"/>
                      <a:pt x="94" y="94"/>
                      <a:pt x="94" y="93"/>
                    </a:cubicBezTo>
                    <a:cubicBezTo>
                      <a:pt x="94" y="93"/>
                      <a:pt x="94" y="93"/>
                      <a:pt x="94" y="93"/>
                    </a:cubicBezTo>
                    <a:cubicBezTo>
                      <a:pt x="90" y="88"/>
                      <a:pt x="90" y="80"/>
                      <a:pt x="96" y="74"/>
                    </a:cubicBezTo>
                    <a:cubicBezTo>
                      <a:pt x="101" y="69"/>
                      <a:pt x="109" y="69"/>
                      <a:pt x="114" y="73"/>
                    </a:cubicBezTo>
                    <a:cubicBezTo>
                      <a:pt x="114" y="73"/>
                      <a:pt x="114" y="73"/>
                      <a:pt x="114" y="73"/>
                    </a:cubicBezTo>
                    <a:cubicBezTo>
                      <a:pt x="115" y="73"/>
                      <a:pt x="115" y="73"/>
                      <a:pt x="114" y="73"/>
                    </a:cubicBezTo>
                    <a:close/>
                  </a:path>
                </a:pathLst>
              </a:custGeom>
              <a:solidFill>
                <a:srgbClr val="DF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54" name="Freeform 88">
                <a:extLst>
                  <a:ext uri="{FF2B5EF4-FFF2-40B4-BE49-F238E27FC236}">
                    <a16:creationId xmlns:a16="http://schemas.microsoft.com/office/drawing/2014/main" id="{80AF5BBB-3F42-8A53-68EE-B256655D65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0038" y="2373313"/>
                <a:ext cx="180975" cy="180975"/>
              </a:xfrm>
              <a:custGeom>
                <a:avLst/>
                <a:gdLst>
                  <a:gd name="T0" fmla="*/ 17 w 114"/>
                  <a:gd name="T1" fmla="*/ 114 h 114"/>
                  <a:gd name="T2" fmla="*/ 0 w 114"/>
                  <a:gd name="T3" fmla="*/ 98 h 114"/>
                  <a:gd name="T4" fmla="*/ 95 w 114"/>
                  <a:gd name="T5" fmla="*/ 0 h 114"/>
                  <a:gd name="T6" fmla="*/ 114 w 114"/>
                  <a:gd name="T7" fmla="*/ 19 h 114"/>
                  <a:gd name="T8" fmla="*/ 17 w 114"/>
                  <a:gd name="T9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114">
                    <a:moveTo>
                      <a:pt x="17" y="114"/>
                    </a:moveTo>
                    <a:lnTo>
                      <a:pt x="0" y="98"/>
                    </a:lnTo>
                    <a:lnTo>
                      <a:pt x="95" y="0"/>
                    </a:lnTo>
                    <a:lnTo>
                      <a:pt x="114" y="19"/>
                    </a:lnTo>
                    <a:lnTo>
                      <a:pt x="17" y="114"/>
                    </a:lnTo>
                    <a:close/>
                  </a:path>
                </a:pathLst>
              </a:custGeom>
              <a:solidFill>
                <a:srgbClr val="FACB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55" name="Freeform 89">
                <a:extLst>
                  <a:ext uri="{FF2B5EF4-FFF2-40B4-BE49-F238E27FC236}">
                    <a16:creationId xmlns:a16="http://schemas.microsoft.com/office/drawing/2014/main" id="{A25547B0-686A-956F-3900-14FFE4890E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479676"/>
                <a:ext cx="355600" cy="350838"/>
              </a:xfrm>
              <a:custGeom>
                <a:avLst/>
                <a:gdLst>
                  <a:gd name="T0" fmla="*/ 0 w 94"/>
                  <a:gd name="T1" fmla="*/ 20 h 93"/>
                  <a:gd name="T2" fmla="*/ 73 w 94"/>
                  <a:gd name="T3" fmla="*/ 93 h 93"/>
                  <a:gd name="T4" fmla="*/ 73 w 94"/>
                  <a:gd name="T5" fmla="*/ 93 h 93"/>
                  <a:gd name="T6" fmla="*/ 76 w 94"/>
                  <a:gd name="T7" fmla="*/ 75 h 93"/>
                  <a:gd name="T8" fmla="*/ 94 w 94"/>
                  <a:gd name="T9" fmla="*/ 74 h 93"/>
                  <a:gd name="T10" fmla="*/ 94 w 94"/>
                  <a:gd name="T11" fmla="*/ 73 h 93"/>
                  <a:gd name="T12" fmla="*/ 21 w 94"/>
                  <a:gd name="T13" fmla="*/ 0 h 93"/>
                  <a:gd name="T14" fmla="*/ 0 w 94"/>
                  <a:gd name="T15" fmla="*/ 2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4" h="93">
                    <a:moveTo>
                      <a:pt x="0" y="20"/>
                    </a:moveTo>
                    <a:cubicBezTo>
                      <a:pt x="0" y="20"/>
                      <a:pt x="64" y="84"/>
                      <a:pt x="73" y="93"/>
                    </a:cubicBezTo>
                    <a:cubicBezTo>
                      <a:pt x="73" y="93"/>
                      <a:pt x="73" y="93"/>
                      <a:pt x="73" y="93"/>
                    </a:cubicBezTo>
                    <a:cubicBezTo>
                      <a:pt x="70" y="88"/>
                      <a:pt x="71" y="80"/>
                      <a:pt x="76" y="75"/>
                    </a:cubicBezTo>
                    <a:cubicBezTo>
                      <a:pt x="81" y="70"/>
                      <a:pt x="89" y="70"/>
                      <a:pt x="94" y="74"/>
                    </a:cubicBezTo>
                    <a:cubicBezTo>
                      <a:pt x="94" y="74"/>
                      <a:pt x="94" y="73"/>
                      <a:pt x="94" y="73"/>
                    </a:cubicBezTo>
                    <a:cubicBezTo>
                      <a:pt x="21" y="0"/>
                      <a:pt x="21" y="0"/>
                      <a:pt x="21" y="0"/>
                    </a:cubicBez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FA56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2056" name="TextBox 2055">
              <a:extLst>
                <a:ext uri="{FF2B5EF4-FFF2-40B4-BE49-F238E27FC236}">
                  <a16:creationId xmlns:a16="http://schemas.microsoft.com/office/drawing/2014/main" id="{4E3BEE08-68F9-4676-61D9-F3EBC6C3D05C}"/>
                </a:ext>
              </a:extLst>
            </p:cNvPr>
            <p:cNvSpPr txBox="1"/>
            <p:nvPr/>
          </p:nvSpPr>
          <p:spPr>
            <a:xfrm>
              <a:off x="10461679" y="244286"/>
              <a:ext cx="1143262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mo</a:t>
              </a:r>
            </a:p>
          </p:txBody>
        </p:sp>
      </p:grpSp>
      <p:sp>
        <p:nvSpPr>
          <p:cNvPr id="2058" name="Arrow: Right 2057">
            <a:extLst>
              <a:ext uri="{FF2B5EF4-FFF2-40B4-BE49-F238E27FC236}">
                <a16:creationId xmlns:a16="http://schemas.microsoft.com/office/drawing/2014/main" id="{6DE964B7-68B8-7CA4-846F-7BF2F75CFE7D}"/>
              </a:ext>
            </a:extLst>
          </p:cNvPr>
          <p:cNvSpPr/>
          <p:nvPr/>
        </p:nvSpPr>
        <p:spPr>
          <a:xfrm>
            <a:off x="4638763" y="4031701"/>
            <a:ext cx="314089" cy="152389"/>
          </a:xfrm>
          <a:custGeom>
            <a:avLst/>
            <a:gdLst>
              <a:gd name="connsiteX0" fmla="*/ 0 w 314089"/>
              <a:gd name="connsiteY0" fmla="*/ 38097 h 152389"/>
              <a:gd name="connsiteX1" fmla="*/ 202594 w 314089"/>
              <a:gd name="connsiteY1" fmla="*/ 38097 h 152389"/>
              <a:gd name="connsiteX2" fmla="*/ 202594 w 314089"/>
              <a:gd name="connsiteY2" fmla="*/ 0 h 152389"/>
              <a:gd name="connsiteX3" fmla="*/ 314089 w 314089"/>
              <a:gd name="connsiteY3" fmla="*/ 76195 h 152389"/>
              <a:gd name="connsiteX4" fmla="*/ 202594 w 314089"/>
              <a:gd name="connsiteY4" fmla="*/ 152389 h 152389"/>
              <a:gd name="connsiteX5" fmla="*/ 202594 w 314089"/>
              <a:gd name="connsiteY5" fmla="*/ 114292 h 152389"/>
              <a:gd name="connsiteX6" fmla="*/ 0 w 314089"/>
              <a:gd name="connsiteY6" fmla="*/ 114292 h 152389"/>
              <a:gd name="connsiteX7" fmla="*/ 0 w 314089"/>
              <a:gd name="connsiteY7" fmla="*/ 38097 h 1523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4089" h="152389" extrusionOk="0">
                <a:moveTo>
                  <a:pt x="0" y="38097"/>
                </a:moveTo>
                <a:cubicBezTo>
                  <a:pt x="52967" y="41992"/>
                  <a:pt x="140330" y="35096"/>
                  <a:pt x="202594" y="38097"/>
                </a:cubicBezTo>
                <a:cubicBezTo>
                  <a:pt x="203720" y="29278"/>
                  <a:pt x="201487" y="12217"/>
                  <a:pt x="202594" y="0"/>
                </a:cubicBezTo>
                <a:cubicBezTo>
                  <a:pt x="250704" y="31894"/>
                  <a:pt x="285487" y="59697"/>
                  <a:pt x="314089" y="76195"/>
                </a:cubicBezTo>
                <a:cubicBezTo>
                  <a:pt x="263585" y="116079"/>
                  <a:pt x="224767" y="135612"/>
                  <a:pt x="202594" y="152389"/>
                </a:cubicBezTo>
                <a:cubicBezTo>
                  <a:pt x="201837" y="143513"/>
                  <a:pt x="201365" y="122824"/>
                  <a:pt x="202594" y="114292"/>
                </a:cubicBezTo>
                <a:cubicBezTo>
                  <a:pt x="157247" y="123016"/>
                  <a:pt x="98127" y="112087"/>
                  <a:pt x="0" y="114292"/>
                </a:cubicBezTo>
                <a:cubicBezTo>
                  <a:pt x="-3058" y="87297"/>
                  <a:pt x="465" y="64655"/>
                  <a:pt x="0" y="38097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>
                      <a:gd name="adj1" fmla="val 50000"/>
                      <a:gd name="adj2" fmla="val 73165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59" name="Arrow: Right 2058">
            <a:extLst>
              <a:ext uri="{FF2B5EF4-FFF2-40B4-BE49-F238E27FC236}">
                <a16:creationId xmlns:a16="http://schemas.microsoft.com/office/drawing/2014/main" id="{F801CB75-769C-D145-3164-8BCA11DA197C}"/>
              </a:ext>
            </a:extLst>
          </p:cNvPr>
          <p:cNvSpPr/>
          <p:nvPr/>
        </p:nvSpPr>
        <p:spPr>
          <a:xfrm>
            <a:off x="7530721" y="4397061"/>
            <a:ext cx="1109406" cy="234205"/>
          </a:xfrm>
          <a:custGeom>
            <a:avLst/>
            <a:gdLst>
              <a:gd name="connsiteX0" fmla="*/ 0 w 1109406"/>
              <a:gd name="connsiteY0" fmla="*/ 58551 h 234205"/>
              <a:gd name="connsiteX1" fmla="*/ 486229 w 1109406"/>
              <a:gd name="connsiteY1" fmla="*/ 58551 h 234205"/>
              <a:gd name="connsiteX2" fmla="*/ 992304 w 1109406"/>
              <a:gd name="connsiteY2" fmla="*/ 58551 h 234205"/>
              <a:gd name="connsiteX3" fmla="*/ 992304 w 1109406"/>
              <a:gd name="connsiteY3" fmla="*/ 0 h 234205"/>
              <a:gd name="connsiteX4" fmla="*/ 1109406 w 1109406"/>
              <a:gd name="connsiteY4" fmla="*/ 117103 h 234205"/>
              <a:gd name="connsiteX5" fmla="*/ 992304 w 1109406"/>
              <a:gd name="connsiteY5" fmla="*/ 234205 h 234205"/>
              <a:gd name="connsiteX6" fmla="*/ 992304 w 1109406"/>
              <a:gd name="connsiteY6" fmla="*/ 175654 h 234205"/>
              <a:gd name="connsiteX7" fmla="*/ 515998 w 1109406"/>
              <a:gd name="connsiteY7" fmla="*/ 175654 h 234205"/>
              <a:gd name="connsiteX8" fmla="*/ 0 w 1109406"/>
              <a:gd name="connsiteY8" fmla="*/ 175654 h 234205"/>
              <a:gd name="connsiteX9" fmla="*/ 0 w 1109406"/>
              <a:gd name="connsiteY9" fmla="*/ 58551 h 234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9406" h="234205" extrusionOk="0">
                <a:moveTo>
                  <a:pt x="0" y="58551"/>
                </a:moveTo>
                <a:cubicBezTo>
                  <a:pt x="222347" y="37923"/>
                  <a:pt x="310675" y="38927"/>
                  <a:pt x="486229" y="58551"/>
                </a:cubicBezTo>
                <a:cubicBezTo>
                  <a:pt x="661783" y="78175"/>
                  <a:pt x="859783" y="63824"/>
                  <a:pt x="992304" y="58551"/>
                </a:cubicBezTo>
                <a:cubicBezTo>
                  <a:pt x="993020" y="41256"/>
                  <a:pt x="990147" y="15159"/>
                  <a:pt x="992304" y="0"/>
                </a:cubicBezTo>
                <a:cubicBezTo>
                  <a:pt x="1018788" y="24798"/>
                  <a:pt x="1050788" y="67063"/>
                  <a:pt x="1109406" y="117103"/>
                </a:cubicBezTo>
                <a:cubicBezTo>
                  <a:pt x="1072629" y="161142"/>
                  <a:pt x="1026658" y="189317"/>
                  <a:pt x="992304" y="234205"/>
                </a:cubicBezTo>
                <a:cubicBezTo>
                  <a:pt x="994041" y="222130"/>
                  <a:pt x="993488" y="188290"/>
                  <a:pt x="992304" y="175654"/>
                </a:cubicBezTo>
                <a:cubicBezTo>
                  <a:pt x="803633" y="186756"/>
                  <a:pt x="645309" y="195690"/>
                  <a:pt x="515998" y="175654"/>
                </a:cubicBezTo>
                <a:cubicBezTo>
                  <a:pt x="386687" y="155618"/>
                  <a:pt x="107316" y="177347"/>
                  <a:pt x="0" y="175654"/>
                </a:cubicBezTo>
                <a:cubicBezTo>
                  <a:pt x="-3119" y="127483"/>
                  <a:pt x="4360" y="112378"/>
                  <a:pt x="0" y="58551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F1492CF-C318-1C39-AB36-E7509D4A782A}"/>
              </a:ext>
            </a:extLst>
          </p:cNvPr>
          <p:cNvSpPr txBox="1"/>
          <p:nvPr/>
        </p:nvSpPr>
        <p:spPr>
          <a:xfrm>
            <a:off x="630962" y="4346981"/>
            <a:ext cx="40359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/</a:t>
            </a:r>
            <a:r>
              <a:rPr lang="en-US" dirty="0" err="1"/>
              <a:t>templateSpecs</a:t>
            </a:r>
            <a:r>
              <a:rPr lang="en-US" dirty="0"/>
              <a:t>/&lt;name&gt;/&lt;name&gt;.</a:t>
            </a:r>
            <a:r>
              <a:rPr lang="en-US" dirty="0" err="1"/>
              <a:t>ui.json</a:t>
            </a:r>
            <a:endParaRPr lang="en-US" dirty="0"/>
          </a:p>
        </p:txBody>
      </p:sp>
      <p:pic>
        <p:nvPicPr>
          <p:cNvPr id="13" name="Picture 12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23621939-9A58-F6EF-A9AD-C5EBF9FB6CF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8355" y="2554365"/>
            <a:ext cx="1963754" cy="1963754"/>
          </a:xfrm>
          <a:prstGeom prst="rect">
            <a:avLst/>
          </a:prstGeom>
        </p:spPr>
      </p:pic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66CC43BA-1AD4-5E41-8824-048E6EB82BF1}"/>
              </a:ext>
            </a:extLst>
          </p:cNvPr>
          <p:cNvSpPr/>
          <p:nvPr/>
        </p:nvSpPr>
        <p:spPr>
          <a:xfrm>
            <a:off x="8701208" y="4365730"/>
            <a:ext cx="2209153" cy="999892"/>
          </a:xfrm>
          <a:custGeom>
            <a:avLst/>
            <a:gdLst>
              <a:gd name="connsiteX0" fmla="*/ 0 w 2209153"/>
              <a:gd name="connsiteY0" fmla="*/ 166652 h 999892"/>
              <a:gd name="connsiteX1" fmla="*/ 166652 w 2209153"/>
              <a:gd name="connsiteY1" fmla="*/ 0 h 999892"/>
              <a:gd name="connsiteX2" fmla="*/ 829452 w 2209153"/>
              <a:gd name="connsiteY2" fmla="*/ 0 h 999892"/>
              <a:gd name="connsiteX3" fmla="*/ 1435976 w 2209153"/>
              <a:gd name="connsiteY3" fmla="*/ 0 h 999892"/>
              <a:gd name="connsiteX4" fmla="*/ 2042501 w 2209153"/>
              <a:gd name="connsiteY4" fmla="*/ 0 h 999892"/>
              <a:gd name="connsiteX5" fmla="*/ 2209153 w 2209153"/>
              <a:gd name="connsiteY5" fmla="*/ 166652 h 999892"/>
              <a:gd name="connsiteX6" fmla="*/ 2209153 w 2209153"/>
              <a:gd name="connsiteY6" fmla="*/ 833240 h 999892"/>
              <a:gd name="connsiteX7" fmla="*/ 2042501 w 2209153"/>
              <a:gd name="connsiteY7" fmla="*/ 999892 h 999892"/>
              <a:gd name="connsiteX8" fmla="*/ 1454735 w 2209153"/>
              <a:gd name="connsiteY8" fmla="*/ 999892 h 999892"/>
              <a:gd name="connsiteX9" fmla="*/ 829452 w 2209153"/>
              <a:gd name="connsiteY9" fmla="*/ 999892 h 999892"/>
              <a:gd name="connsiteX10" fmla="*/ 166652 w 2209153"/>
              <a:gd name="connsiteY10" fmla="*/ 999892 h 999892"/>
              <a:gd name="connsiteX11" fmla="*/ 0 w 2209153"/>
              <a:gd name="connsiteY11" fmla="*/ 833240 h 999892"/>
              <a:gd name="connsiteX12" fmla="*/ 0 w 2209153"/>
              <a:gd name="connsiteY12" fmla="*/ 166652 h 999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209153" h="999892" extrusionOk="0">
                <a:moveTo>
                  <a:pt x="0" y="166652"/>
                </a:moveTo>
                <a:cubicBezTo>
                  <a:pt x="-5816" y="71026"/>
                  <a:pt x="55833" y="7048"/>
                  <a:pt x="166652" y="0"/>
                </a:cubicBezTo>
                <a:cubicBezTo>
                  <a:pt x="412868" y="-29637"/>
                  <a:pt x="501886" y="14089"/>
                  <a:pt x="829452" y="0"/>
                </a:cubicBezTo>
                <a:cubicBezTo>
                  <a:pt x="1157018" y="-14089"/>
                  <a:pt x="1298998" y="-3346"/>
                  <a:pt x="1435976" y="0"/>
                </a:cubicBezTo>
                <a:cubicBezTo>
                  <a:pt x="1572954" y="3346"/>
                  <a:pt x="1875459" y="21759"/>
                  <a:pt x="2042501" y="0"/>
                </a:cubicBezTo>
                <a:cubicBezTo>
                  <a:pt x="2128385" y="-19826"/>
                  <a:pt x="2210752" y="68697"/>
                  <a:pt x="2209153" y="166652"/>
                </a:cubicBezTo>
                <a:cubicBezTo>
                  <a:pt x="2212572" y="350840"/>
                  <a:pt x="2204549" y="557198"/>
                  <a:pt x="2209153" y="833240"/>
                </a:cubicBezTo>
                <a:cubicBezTo>
                  <a:pt x="2208052" y="914776"/>
                  <a:pt x="2122198" y="1017044"/>
                  <a:pt x="2042501" y="999892"/>
                </a:cubicBezTo>
                <a:cubicBezTo>
                  <a:pt x="1814527" y="1006641"/>
                  <a:pt x="1713823" y="1009123"/>
                  <a:pt x="1454735" y="999892"/>
                </a:cubicBezTo>
                <a:cubicBezTo>
                  <a:pt x="1195647" y="990661"/>
                  <a:pt x="978441" y="1002587"/>
                  <a:pt x="829452" y="999892"/>
                </a:cubicBezTo>
                <a:cubicBezTo>
                  <a:pt x="680463" y="997197"/>
                  <a:pt x="332492" y="1030518"/>
                  <a:pt x="166652" y="999892"/>
                </a:cubicBezTo>
                <a:cubicBezTo>
                  <a:pt x="78123" y="996424"/>
                  <a:pt x="10822" y="918301"/>
                  <a:pt x="0" y="833240"/>
                </a:cubicBezTo>
                <a:cubicBezTo>
                  <a:pt x="-13238" y="514479"/>
                  <a:pt x="19208" y="483104"/>
                  <a:pt x="0" y="166652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dirty="0">
                <a:solidFill>
                  <a:schemeClr val="tx1"/>
                </a:solidFill>
              </a:rPr>
              <a:t>Platform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322D5DCA-C5D2-2841-8432-314B07E4377F}"/>
              </a:ext>
            </a:extLst>
          </p:cNvPr>
          <p:cNvSpPr/>
          <p:nvPr/>
        </p:nvSpPr>
        <p:spPr>
          <a:xfrm>
            <a:off x="9120789" y="560778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 w="38100">
            <a:solidFill>
              <a:srgbClr val="D01012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F613AD76-FF56-9D30-94FB-8009D3A31EB5}"/>
              </a:ext>
            </a:extLst>
          </p:cNvPr>
          <p:cNvSpPr/>
          <p:nvPr/>
        </p:nvSpPr>
        <p:spPr>
          <a:xfrm>
            <a:off x="9974706" y="560778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FBF59936-22B5-CD21-A46C-D65F1BBFA4C2}"/>
              </a:ext>
            </a:extLst>
          </p:cNvPr>
          <p:cNvSpPr/>
          <p:nvPr/>
        </p:nvSpPr>
        <p:spPr>
          <a:xfrm>
            <a:off x="10828623" y="560778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44D93E-75BD-25D4-DC4A-3F4D2F641C07}"/>
              </a:ext>
            </a:extLst>
          </p:cNvPr>
          <p:cNvGrpSpPr/>
          <p:nvPr/>
        </p:nvGrpSpPr>
        <p:grpSpPr>
          <a:xfrm>
            <a:off x="8701208" y="4321032"/>
            <a:ext cx="1025861" cy="1089287"/>
            <a:chOff x="6618867" y="3226748"/>
            <a:chExt cx="1025861" cy="1089287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1276303E-E993-7E2D-B7E2-691DFBAB393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68572" y="3226748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F3D224C1-68BD-D277-D914-D2ABE356921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58686" y="3315374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07E65C55-E683-E636-A545-7CA58D5E090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8867" y="3429000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68C8C5F5-3012-6AF6-F015-9FE9157C5661}"/>
              </a:ext>
            </a:extLst>
          </p:cNvPr>
          <p:cNvSpPr/>
          <p:nvPr/>
        </p:nvSpPr>
        <p:spPr>
          <a:xfrm>
            <a:off x="9964906" y="4845404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 w="38100">
            <a:solidFill>
              <a:srgbClr val="00B050"/>
            </a:solidFill>
            <a:prstDash val="solid"/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Hub</a:t>
            </a:r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DE1BAC05-780A-F182-180D-2016DD9E0341}"/>
              </a:ext>
            </a:extLst>
          </p:cNvPr>
          <p:cNvSpPr/>
          <p:nvPr/>
        </p:nvSpPr>
        <p:spPr>
          <a:xfrm rot="3660239" flipV="1">
            <a:off x="8449089" y="3772749"/>
            <a:ext cx="1039346" cy="197752"/>
          </a:xfrm>
          <a:custGeom>
            <a:avLst/>
            <a:gdLst>
              <a:gd name="connsiteX0" fmla="*/ 0 w 1039346"/>
              <a:gd name="connsiteY0" fmla="*/ 49438 h 197752"/>
              <a:gd name="connsiteX1" fmla="*/ 460830 w 1039346"/>
              <a:gd name="connsiteY1" fmla="*/ 49438 h 197752"/>
              <a:gd name="connsiteX2" fmla="*/ 940470 w 1039346"/>
              <a:gd name="connsiteY2" fmla="*/ 49438 h 197752"/>
              <a:gd name="connsiteX3" fmla="*/ 940470 w 1039346"/>
              <a:gd name="connsiteY3" fmla="*/ 0 h 197752"/>
              <a:gd name="connsiteX4" fmla="*/ 1039346 w 1039346"/>
              <a:gd name="connsiteY4" fmla="*/ 98876 h 197752"/>
              <a:gd name="connsiteX5" fmla="*/ 940470 w 1039346"/>
              <a:gd name="connsiteY5" fmla="*/ 197752 h 197752"/>
              <a:gd name="connsiteX6" fmla="*/ 940470 w 1039346"/>
              <a:gd name="connsiteY6" fmla="*/ 148314 h 197752"/>
              <a:gd name="connsiteX7" fmla="*/ 489044 w 1039346"/>
              <a:gd name="connsiteY7" fmla="*/ 148314 h 197752"/>
              <a:gd name="connsiteX8" fmla="*/ 0 w 1039346"/>
              <a:gd name="connsiteY8" fmla="*/ 148314 h 197752"/>
              <a:gd name="connsiteX9" fmla="*/ 0 w 1039346"/>
              <a:gd name="connsiteY9" fmla="*/ 49438 h 19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39346" h="197752" extrusionOk="0">
                <a:moveTo>
                  <a:pt x="0" y="49438"/>
                </a:moveTo>
                <a:cubicBezTo>
                  <a:pt x="134561" y="46031"/>
                  <a:pt x="360177" y="30611"/>
                  <a:pt x="460830" y="49438"/>
                </a:cubicBezTo>
                <a:cubicBezTo>
                  <a:pt x="561483" y="68266"/>
                  <a:pt x="808301" y="47673"/>
                  <a:pt x="940470" y="49438"/>
                </a:cubicBezTo>
                <a:cubicBezTo>
                  <a:pt x="941521" y="27830"/>
                  <a:pt x="941479" y="23659"/>
                  <a:pt x="940470" y="0"/>
                </a:cubicBezTo>
                <a:cubicBezTo>
                  <a:pt x="969187" y="24837"/>
                  <a:pt x="1016235" y="71130"/>
                  <a:pt x="1039346" y="98876"/>
                </a:cubicBezTo>
                <a:cubicBezTo>
                  <a:pt x="989391" y="141041"/>
                  <a:pt x="972141" y="173368"/>
                  <a:pt x="940470" y="197752"/>
                </a:cubicBezTo>
                <a:cubicBezTo>
                  <a:pt x="939977" y="180109"/>
                  <a:pt x="938363" y="162894"/>
                  <a:pt x="940470" y="148314"/>
                </a:cubicBezTo>
                <a:cubicBezTo>
                  <a:pt x="818971" y="135736"/>
                  <a:pt x="643147" y="166443"/>
                  <a:pt x="489044" y="148314"/>
                </a:cubicBezTo>
                <a:cubicBezTo>
                  <a:pt x="334941" y="130185"/>
                  <a:pt x="215146" y="162363"/>
                  <a:pt x="0" y="148314"/>
                </a:cubicBezTo>
                <a:cubicBezTo>
                  <a:pt x="1981" y="119112"/>
                  <a:pt x="-3662" y="72653"/>
                  <a:pt x="0" y="49438"/>
                </a:cubicBezTo>
                <a:close/>
              </a:path>
            </a:pathLst>
          </a:custGeom>
          <a:noFill/>
          <a:ln w="25400">
            <a:solidFill>
              <a:srgbClr val="D01012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7842B163-C024-2021-2D8C-46F8569847FD}"/>
              </a:ext>
            </a:extLst>
          </p:cNvPr>
          <p:cNvSpPr/>
          <p:nvPr/>
        </p:nvSpPr>
        <p:spPr>
          <a:xfrm rot="3480107">
            <a:off x="9461353" y="5240562"/>
            <a:ext cx="388315" cy="237515"/>
          </a:xfrm>
          <a:custGeom>
            <a:avLst/>
            <a:gdLst>
              <a:gd name="connsiteX0" fmla="*/ 0 w 388315"/>
              <a:gd name="connsiteY0" fmla="*/ 59379 h 237515"/>
              <a:gd name="connsiteX1" fmla="*/ 269558 w 388315"/>
              <a:gd name="connsiteY1" fmla="*/ 59379 h 237515"/>
              <a:gd name="connsiteX2" fmla="*/ 269558 w 388315"/>
              <a:gd name="connsiteY2" fmla="*/ 0 h 237515"/>
              <a:gd name="connsiteX3" fmla="*/ 388315 w 388315"/>
              <a:gd name="connsiteY3" fmla="*/ 118758 h 237515"/>
              <a:gd name="connsiteX4" fmla="*/ 269558 w 388315"/>
              <a:gd name="connsiteY4" fmla="*/ 237515 h 237515"/>
              <a:gd name="connsiteX5" fmla="*/ 269558 w 388315"/>
              <a:gd name="connsiteY5" fmla="*/ 178136 h 237515"/>
              <a:gd name="connsiteX6" fmla="*/ 0 w 388315"/>
              <a:gd name="connsiteY6" fmla="*/ 178136 h 237515"/>
              <a:gd name="connsiteX7" fmla="*/ 0 w 388315"/>
              <a:gd name="connsiteY7" fmla="*/ 59379 h 237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8315" h="237515" extrusionOk="0">
                <a:moveTo>
                  <a:pt x="0" y="59379"/>
                </a:moveTo>
                <a:cubicBezTo>
                  <a:pt x="84013" y="65988"/>
                  <a:pt x="142370" y="47335"/>
                  <a:pt x="269558" y="59379"/>
                </a:cubicBezTo>
                <a:cubicBezTo>
                  <a:pt x="269937" y="40183"/>
                  <a:pt x="268562" y="14892"/>
                  <a:pt x="269558" y="0"/>
                </a:cubicBezTo>
                <a:cubicBezTo>
                  <a:pt x="295360" y="26823"/>
                  <a:pt x="335561" y="64179"/>
                  <a:pt x="388315" y="118758"/>
                </a:cubicBezTo>
                <a:cubicBezTo>
                  <a:pt x="331555" y="179519"/>
                  <a:pt x="315368" y="193113"/>
                  <a:pt x="269558" y="237515"/>
                </a:cubicBezTo>
                <a:cubicBezTo>
                  <a:pt x="267723" y="214850"/>
                  <a:pt x="268724" y="204924"/>
                  <a:pt x="269558" y="178136"/>
                </a:cubicBezTo>
                <a:cubicBezTo>
                  <a:pt x="205230" y="169976"/>
                  <a:pt x="56878" y="176706"/>
                  <a:pt x="0" y="178136"/>
                </a:cubicBezTo>
                <a:cubicBezTo>
                  <a:pt x="-4350" y="126511"/>
                  <a:pt x="-3104" y="109427"/>
                  <a:pt x="0" y="59379"/>
                </a:cubicBezTo>
                <a:close/>
              </a:path>
            </a:pathLst>
          </a:custGeom>
          <a:noFill/>
          <a:ln w="25400">
            <a:solidFill>
              <a:srgbClr val="D01012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FDFE13F8-56BF-76AB-11D3-9BEBCBAE163E}"/>
              </a:ext>
            </a:extLst>
          </p:cNvPr>
          <p:cNvGrpSpPr/>
          <p:nvPr/>
        </p:nvGrpSpPr>
        <p:grpSpPr>
          <a:xfrm>
            <a:off x="7881878" y="2574586"/>
            <a:ext cx="984668" cy="790227"/>
            <a:chOff x="7847850" y="2300529"/>
            <a:chExt cx="984668" cy="790227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ED45C24A-4E78-B3B4-1D3A-ECC8C89738DE}"/>
                </a:ext>
              </a:extLst>
            </p:cNvPr>
            <p:cNvGrpSpPr/>
            <p:nvPr/>
          </p:nvGrpSpPr>
          <p:grpSpPr>
            <a:xfrm>
              <a:off x="7922379" y="2369064"/>
              <a:ext cx="778829" cy="721692"/>
              <a:chOff x="3409768" y="2600757"/>
              <a:chExt cx="1571305" cy="1560279"/>
            </a:xfrm>
          </p:grpSpPr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id="{F5C73E76-097F-93FD-BEE4-309FC39B7BF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3987546" y="2600757"/>
                <a:ext cx="993527" cy="126704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4" name="Picture 33" descr="A white robot with a black background&#10;&#10;Description automatically generated">
                <a:extLst>
                  <a:ext uri="{FF2B5EF4-FFF2-40B4-BE49-F238E27FC236}">
                    <a16:creationId xmlns:a16="http://schemas.microsoft.com/office/drawing/2014/main" id="{C2F45153-0012-AAB1-CCDC-5D072D1197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09768" y="3005480"/>
                <a:ext cx="1155556" cy="1155556"/>
              </a:xfrm>
              <a:prstGeom prst="rect">
                <a:avLst/>
              </a:prstGeom>
            </p:spPr>
          </p:pic>
        </p:grp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908FC8D2-6733-720A-F151-C5C62EEBDE48}"/>
                </a:ext>
              </a:extLst>
            </p:cNvPr>
            <p:cNvSpPr/>
            <p:nvPr/>
          </p:nvSpPr>
          <p:spPr>
            <a:xfrm>
              <a:off x="7847850" y="2300529"/>
              <a:ext cx="984668" cy="750646"/>
            </a:xfrm>
            <a:custGeom>
              <a:avLst/>
              <a:gdLst>
                <a:gd name="connsiteX0" fmla="*/ 0 w 984668"/>
                <a:gd name="connsiteY0" fmla="*/ 125110 h 750646"/>
                <a:gd name="connsiteX1" fmla="*/ 125110 w 984668"/>
                <a:gd name="connsiteY1" fmla="*/ 0 h 750646"/>
                <a:gd name="connsiteX2" fmla="*/ 507023 w 984668"/>
                <a:gd name="connsiteY2" fmla="*/ 0 h 750646"/>
                <a:gd name="connsiteX3" fmla="*/ 859558 w 984668"/>
                <a:gd name="connsiteY3" fmla="*/ 0 h 750646"/>
                <a:gd name="connsiteX4" fmla="*/ 984668 w 984668"/>
                <a:gd name="connsiteY4" fmla="*/ 125110 h 750646"/>
                <a:gd name="connsiteX5" fmla="*/ 984668 w 984668"/>
                <a:gd name="connsiteY5" fmla="*/ 625536 h 750646"/>
                <a:gd name="connsiteX6" fmla="*/ 859558 w 984668"/>
                <a:gd name="connsiteY6" fmla="*/ 750646 h 750646"/>
                <a:gd name="connsiteX7" fmla="*/ 492334 w 984668"/>
                <a:gd name="connsiteY7" fmla="*/ 750646 h 750646"/>
                <a:gd name="connsiteX8" fmla="*/ 125110 w 984668"/>
                <a:gd name="connsiteY8" fmla="*/ 750646 h 750646"/>
                <a:gd name="connsiteX9" fmla="*/ 0 w 984668"/>
                <a:gd name="connsiteY9" fmla="*/ 625536 h 750646"/>
                <a:gd name="connsiteX10" fmla="*/ 0 w 984668"/>
                <a:gd name="connsiteY10" fmla="*/ 125110 h 750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84668" h="750646" extrusionOk="0">
                  <a:moveTo>
                    <a:pt x="0" y="125110"/>
                  </a:moveTo>
                  <a:cubicBezTo>
                    <a:pt x="-9580" y="50105"/>
                    <a:pt x="52322" y="1386"/>
                    <a:pt x="125110" y="0"/>
                  </a:cubicBezTo>
                  <a:cubicBezTo>
                    <a:pt x="289853" y="-6597"/>
                    <a:pt x="417927" y="13616"/>
                    <a:pt x="507023" y="0"/>
                  </a:cubicBezTo>
                  <a:cubicBezTo>
                    <a:pt x="596119" y="-13616"/>
                    <a:pt x="699562" y="-12076"/>
                    <a:pt x="859558" y="0"/>
                  </a:cubicBezTo>
                  <a:cubicBezTo>
                    <a:pt x="913737" y="-8162"/>
                    <a:pt x="999580" y="63139"/>
                    <a:pt x="984668" y="125110"/>
                  </a:cubicBezTo>
                  <a:cubicBezTo>
                    <a:pt x="988017" y="304907"/>
                    <a:pt x="960285" y="418914"/>
                    <a:pt x="984668" y="625536"/>
                  </a:cubicBezTo>
                  <a:cubicBezTo>
                    <a:pt x="987412" y="690166"/>
                    <a:pt x="924914" y="753933"/>
                    <a:pt x="859558" y="750646"/>
                  </a:cubicBezTo>
                  <a:cubicBezTo>
                    <a:pt x="698694" y="766720"/>
                    <a:pt x="644692" y="749982"/>
                    <a:pt x="492334" y="750646"/>
                  </a:cubicBezTo>
                  <a:cubicBezTo>
                    <a:pt x="339976" y="751310"/>
                    <a:pt x="209810" y="739942"/>
                    <a:pt x="125110" y="750646"/>
                  </a:cubicBezTo>
                  <a:cubicBezTo>
                    <a:pt x="45398" y="750039"/>
                    <a:pt x="827" y="692364"/>
                    <a:pt x="0" y="625536"/>
                  </a:cubicBezTo>
                  <a:cubicBezTo>
                    <a:pt x="12099" y="513508"/>
                    <a:pt x="-17618" y="305814"/>
                    <a:pt x="0" y="125110"/>
                  </a:cubicBezTo>
                  <a:close/>
                </a:path>
              </a:pathLst>
            </a:custGeom>
            <a:noFill/>
            <a:ln w="38100">
              <a:solidFill>
                <a:srgbClr val="D01012"/>
              </a:solidFill>
              <a:prstDash val="sysDot"/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/>
              <a:endParaRPr lang="en-US" dirty="0">
                <a:solidFill>
                  <a:schemeClr val="tx1"/>
                </a:solidFill>
              </a:endParaRPr>
            </a:p>
          </p:txBody>
        </p:sp>
      </p:grpSp>
      <p:pic>
        <p:nvPicPr>
          <p:cNvPr id="18436" name="Picture 4">
            <a:extLst>
              <a:ext uri="{FF2B5EF4-FFF2-40B4-BE49-F238E27FC236}">
                <a16:creationId xmlns:a16="http://schemas.microsoft.com/office/drawing/2014/main" id="{E3727051-12D4-B553-BCB1-1209A20096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duotone>
              <a:prstClr val="black"/>
              <a:srgbClr val="D01012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0276" y="3516745"/>
            <a:ext cx="621103" cy="574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425325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820FCB3-B927-171A-59B2-33D943B7CE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4241" y="1469803"/>
            <a:ext cx="5720600" cy="47066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Template Specs UI </a:t>
            </a:r>
            <a:r>
              <a:rPr lang="en-US" b="1" dirty="0"/>
              <a:t>structu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456F21B-9758-BCAA-A512-A04BF6B33F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45555" y="1469802"/>
            <a:ext cx="5182202" cy="4706681"/>
          </a:xfrm>
          <a:prstGeom prst="rect">
            <a:avLst/>
          </a:prstGeom>
        </p:spPr>
      </p:pic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54DDDE3-F7F2-A65A-C5DC-39B033DFB1FA}"/>
              </a:ext>
            </a:extLst>
          </p:cNvPr>
          <p:cNvSpPr/>
          <p:nvPr/>
        </p:nvSpPr>
        <p:spPr>
          <a:xfrm>
            <a:off x="1605281" y="2469264"/>
            <a:ext cx="1676636" cy="150746"/>
          </a:xfrm>
          <a:custGeom>
            <a:avLst/>
            <a:gdLst>
              <a:gd name="connsiteX0" fmla="*/ 0 w 1676636"/>
              <a:gd name="connsiteY0" fmla="*/ 25125 h 150746"/>
              <a:gd name="connsiteX1" fmla="*/ 25125 w 1676636"/>
              <a:gd name="connsiteY1" fmla="*/ 0 h 150746"/>
              <a:gd name="connsiteX2" fmla="*/ 534726 w 1676636"/>
              <a:gd name="connsiteY2" fmla="*/ 0 h 150746"/>
              <a:gd name="connsiteX3" fmla="*/ 1060591 w 1676636"/>
              <a:gd name="connsiteY3" fmla="*/ 0 h 150746"/>
              <a:gd name="connsiteX4" fmla="*/ 1651511 w 1676636"/>
              <a:gd name="connsiteY4" fmla="*/ 0 h 150746"/>
              <a:gd name="connsiteX5" fmla="*/ 1676636 w 1676636"/>
              <a:gd name="connsiteY5" fmla="*/ 25125 h 150746"/>
              <a:gd name="connsiteX6" fmla="*/ 1676636 w 1676636"/>
              <a:gd name="connsiteY6" fmla="*/ 125621 h 150746"/>
              <a:gd name="connsiteX7" fmla="*/ 1651511 w 1676636"/>
              <a:gd name="connsiteY7" fmla="*/ 150746 h 150746"/>
              <a:gd name="connsiteX8" fmla="*/ 1093118 w 1676636"/>
              <a:gd name="connsiteY8" fmla="*/ 150746 h 150746"/>
              <a:gd name="connsiteX9" fmla="*/ 567254 w 1676636"/>
              <a:gd name="connsiteY9" fmla="*/ 150746 h 150746"/>
              <a:gd name="connsiteX10" fmla="*/ 25125 w 1676636"/>
              <a:gd name="connsiteY10" fmla="*/ 150746 h 150746"/>
              <a:gd name="connsiteX11" fmla="*/ 0 w 1676636"/>
              <a:gd name="connsiteY11" fmla="*/ 125621 h 150746"/>
              <a:gd name="connsiteX12" fmla="*/ 0 w 1676636"/>
              <a:gd name="connsiteY12" fmla="*/ 25125 h 150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676636" h="150746" extrusionOk="0">
                <a:moveTo>
                  <a:pt x="0" y="25125"/>
                </a:moveTo>
                <a:cubicBezTo>
                  <a:pt x="3431" y="11656"/>
                  <a:pt x="10310" y="-1264"/>
                  <a:pt x="25125" y="0"/>
                </a:cubicBezTo>
                <a:cubicBezTo>
                  <a:pt x="134176" y="19185"/>
                  <a:pt x="333028" y="11923"/>
                  <a:pt x="534726" y="0"/>
                </a:cubicBezTo>
                <a:cubicBezTo>
                  <a:pt x="736424" y="-11923"/>
                  <a:pt x="899272" y="-16826"/>
                  <a:pt x="1060591" y="0"/>
                </a:cubicBezTo>
                <a:cubicBezTo>
                  <a:pt x="1221910" y="16826"/>
                  <a:pt x="1447884" y="-2822"/>
                  <a:pt x="1651511" y="0"/>
                </a:cubicBezTo>
                <a:cubicBezTo>
                  <a:pt x="1666258" y="2651"/>
                  <a:pt x="1676695" y="13003"/>
                  <a:pt x="1676636" y="25125"/>
                </a:cubicBezTo>
                <a:cubicBezTo>
                  <a:pt x="1672613" y="56861"/>
                  <a:pt x="1678349" y="84206"/>
                  <a:pt x="1676636" y="125621"/>
                </a:cubicBezTo>
                <a:cubicBezTo>
                  <a:pt x="1677042" y="139877"/>
                  <a:pt x="1663692" y="149018"/>
                  <a:pt x="1651511" y="150746"/>
                </a:cubicBezTo>
                <a:cubicBezTo>
                  <a:pt x="1520561" y="171232"/>
                  <a:pt x="1299191" y="138200"/>
                  <a:pt x="1093118" y="150746"/>
                </a:cubicBezTo>
                <a:cubicBezTo>
                  <a:pt x="887045" y="163292"/>
                  <a:pt x="795837" y="140946"/>
                  <a:pt x="567254" y="150746"/>
                </a:cubicBezTo>
                <a:cubicBezTo>
                  <a:pt x="338671" y="160546"/>
                  <a:pt x="204051" y="140643"/>
                  <a:pt x="25125" y="150746"/>
                </a:cubicBezTo>
                <a:cubicBezTo>
                  <a:pt x="11315" y="151067"/>
                  <a:pt x="1988" y="141834"/>
                  <a:pt x="0" y="125621"/>
                </a:cubicBezTo>
                <a:cubicBezTo>
                  <a:pt x="-1109" y="101133"/>
                  <a:pt x="-3526" y="68542"/>
                  <a:pt x="0" y="25125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08A5DEB-871D-0E77-8EF3-36F71C7E079C}"/>
              </a:ext>
            </a:extLst>
          </p:cNvPr>
          <p:cNvSpPr/>
          <p:nvPr/>
        </p:nvSpPr>
        <p:spPr>
          <a:xfrm>
            <a:off x="2023533" y="2857500"/>
            <a:ext cx="1011767" cy="266700"/>
          </a:xfrm>
          <a:custGeom>
            <a:avLst/>
            <a:gdLst>
              <a:gd name="connsiteX0" fmla="*/ 0 w 1011767"/>
              <a:gd name="connsiteY0" fmla="*/ 44451 h 266700"/>
              <a:gd name="connsiteX1" fmla="*/ 44451 w 1011767"/>
              <a:gd name="connsiteY1" fmla="*/ 0 h 266700"/>
              <a:gd name="connsiteX2" fmla="*/ 487426 w 1011767"/>
              <a:gd name="connsiteY2" fmla="*/ 0 h 266700"/>
              <a:gd name="connsiteX3" fmla="*/ 967316 w 1011767"/>
              <a:gd name="connsiteY3" fmla="*/ 0 h 266700"/>
              <a:gd name="connsiteX4" fmla="*/ 1011767 w 1011767"/>
              <a:gd name="connsiteY4" fmla="*/ 44451 h 266700"/>
              <a:gd name="connsiteX5" fmla="*/ 1011767 w 1011767"/>
              <a:gd name="connsiteY5" fmla="*/ 222249 h 266700"/>
              <a:gd name="connsiteX6" fmla="*/ 967316 w 1011767"/>
              <a:gd name="connsiteY6" fmla="*/ 266700 h 266700"/>
              <a:gd name="connsiteX7" fmla="*/ 487426 w 1011767"/>
              <a:gd name="connsiteY7" fmla="*/ 266700 h 266700"/>
              <a:gd name="connsiteX8" fmla="*/ 44451 w 1011767"/>
              <a:gd name="connsiteY8" fmla="*/ 266700 h 266700"/>
              <a:gd name="connsiteX9" fmla="*/ 0 w 1011767"/>
              <a:gd name="connsiteY9" fmla="*/ 222249 h 266700"/>
              <a:gd name="connsiteX10" fmla="*/ 0 w 1011767"/>
              <a:gd name="connsiteY10" fmla="*/ 44451 h 26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011767" h="266700" extrusionOk="0">
                <a:moveTo>
                  <a:pt x="0" y="44451"/>
                </a:moveTo>
                <a:cubicBezTo>
                  <a:pt x="5337" y="20535"/>
                  <a:pt x="19089" y="-1093"/>
                  <a:pt x="44451" y="0"/>
                </a:cubicBezTo>
                <a:cubicBezTo>
                  <a:pt x="254285" y="-16268"/>
                  <a:pt x="323921" y="-789"/>
                  <a:pt x="487426" y="0"/>
                </a:cubicBezTo>
                <a:cubicBezTo>
                  <a:pt x="650932" y="789"/>
                  <a:pt x="749723" y="-17084"/>
                  <a:pt x="967316" y="0"/>
                </a:cubicBezTo>
                <a:cubicBezTo>
                  <a:pt x="990808" y="4735"/>
                  <a:pt x="1010927" y="20041"/>
                  <a:pt x="1011767" y="44451"/>
                </a:cubicBezTo>
                <a:cubicBezTo>
                  <a:pt x="1007744" y="120342"/>
                  <a:pt x="1007498" y="159694"/>
                  <a:pt x="1011767" y="222249"/>
                </a:cubicBezTo>
                <a:cubicBezTo>
                  <a:pt x="1016225" y="249669"/>
                  <a:pt x="993108" y="265232"/>
                  <a:pt x="967316" y="266700"/>
                </a:cubicBezTo>
                <a:cubicBezTo>
                  <a:pt x="838150" y="262251"/>
                  <a:pt x="662777" y="252701"/>
                  <a:pt x="487426" y="266700"/>
                </a:cubicBezTo>
                <a:cubicBezTo>
                  <a:pt x="312075" y="280700"/>
                  <a:pt x="217483" y="266500"/>
                  <a:pt x="44451" y="266700"/>
                </a:cubicBezTo>
                <a:cubicBezTo>
                  <a:pt x="19826" y="265796"/>
                  <a:pt x="0" y="244500"/>
                  <a:pt x="0" y="222249"/>
                </a:cubicBezTo>
                <a:cubicBezTo>
                  <a:pt x="8172" y="162705"/>
                  <a:pt x="-8041" y="84955"/>
                  <a:pt x="0" y="44451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6617DFD1-0674-A5D6-815F-8BEAAFD741A4}"/>
              </a:ext>
            </a:extLst>
          </p:cNvPr>
          <p:cNvSpPr/>
          <p:nvPr/>
        </p:nvSpPr>
        <p:spPr>
          <a:xfrm>
            <a:off x="2154767" y="3235738"/>
            <a:ext cx="1748602" cy="1368012"/>
          </a:xfrm>
          <a:custGeom>
            <a:avLst/>
            <a:gdLst>
              <a:gd name="connsiteX0" fmla="*/ 0 w 1748602"/>
              <a:gd name="connsiteY0" fmla="*/ 228007 h 1368012"/>
              <a:gd name="connsiteX1" fmla="*/ 228007 w 1748602"/>
              <a:gd name="connsiteY1" fmla="*/ 0 h 1368012"/>
              <a:gd name="connsiteX2" fmla="*/ 848449 w 1748602"/>
              <a:gd name="connsiteY2" fmla="*/ 0 h 1368012"/>
              <a:gd name="connsiteX3" fmla="*/ 1520595 w 1748602"/>
              <a:gd name="connsiteY3" fmla="*/ 0 h 1368012"/>
              <a:gd name="connsiteX4" fmla="*/ 1748602 w 1748602"/>
              <a:gd name="connsiteY4" fmla="*/ 228007 h 1368012"/>
              <a:gd name="connsiteX5" fmla="*/ 1748602 w 1748602"/>
              <a:gd name="connsiteY5" fmla="*/ 665766 h 1368012"/>
              <a:gd name="connsiteX6" fmla="*/ 1748602 w 1748602"/>
              <a:gd name="connsiteY6" fmla="*/ 1140005 h 1368012"/>
              <a:gd name="connsiteX7" fmla="*/ 1520595 w 1748602"/>
              <a:gd name="connsiteY7" fmla="*/ 1368012 h 1368012"/>
              <a:gd name="connsiteX8" fmla="*/ 861375 w 1748602"/>
              <a:gd name="connsiteY8" fmla="*/ 1368012 h 1368012"/>
              <a:gd name="connsiteX9" fmla="*/ 228007 w 1748602"/>
              <a:gd name="connsiteY9" fmla="*/ 1368012 h 1368012"/>
              <a:gd name="connsiteX10" fmla="*/ 0 w 1748602"/>
              <a:gd name="connsiteY10" fmla="*/ 1140005 h 1368012"/>
              <a:gd name="connsiteX11" fmla="*/ 0 w 1748602"/>
              <a:gd name="connsiteY11" fmla="*/ 684006 h 1368012"/>
              <a:gd name="connsiteX12" fmla="*/ 0 w 1748602"/>
              <a:gd name="connsiteY12" fmla="*/ 228007 h 1368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748602" h="1368012" extrusionOk="0">
                <a:moveTo>
                  <a:pt x="0" y="228007"/>
                </a:moveTo>
                <a:cubicBezTo>
                  <a:pt x="29751" y="105615"/>
                  <a:pt x="100119" y="-2641"/>
                  <a:pt x="228007" y="0"/>
                </a:cubicBezTo>
                <a:cubicBezTo>
                  <a:pt x="459341" y="30546"/>
                  <a:pt x="585853" y="15765"/>
                  <a:pt x="848449" y="0"/>
                </a:cubicBezTo>
                <a:cubicBezTo>
                  <a:pt x="1111045" y="-15765"/>
                  <a:pt x="1283194" y="-33242"/>
                  <a:pt x="1520595" y="0"/>
                </a:cubicBezTo>
                <a:cubicBezTo>
                  <a:pt x="1642678" y="17188"/>
                  <a:pt x="1742561" y="103089"/>
                  <a:pt x="1748602" y="228007"/>
                </a:cubicBezTo>
                <a:cubicBezTo>
                  <a:pt x="1737587" y="388882"/>
                  <a:pt x="1739103" y="514271"/>
                  <a:pt x="1748602" y="665766"/>
                </a:cubicBezTo>
                <a:cubicBezTo>
                  <a:pt x="1758101" y="817261"/>
                  <a:pt x="1728584" y="1005315"/>
                  <a:pt x="1748602" y="1140005"/>
                </a:cubicBezTo>
                <a:cubicBezTo>
                  <a:pt x="1764642" y="1280971"/>
                  <a:pt x="1637067" y="1358378"/>
                  <a:pt x="1520595" y="1368012"/>
                </a:cubicBezTo>
                <a:cubicBezTo>
                  <a:pt x="1229643" y="1364386"/>
                  <a:pt x="1171340" y="1392641"/>
                  <a:pt x="861375" y="1368012"/>
                </a:cubicBezTo>
                <a:cubicBezTo>
                  <a:pt x="551410" y="1343383"/>
                  <a:pt x="372411" y="1337440"/>
                  <a:pt x="228007" y="1368012"/>
                </a:cubicBezTo>
                <a:cubicBezTo>
                  <a:pt x="101699" y="1345953"/>
                  <a:pt x="-23987" y="1258406"/>
                  <a:pt x="0" y="1140005"/>
                </a:cubicBezTo>
                <a:cubicBezTo>
                  <a:pt x="7734" y="918507"/>
                  <a:pt x="-11623" y="776831"/>
                  <a:pt x="0" y="684006"/>
                </a:cubicBezTo>
                <a:cubicBezTo>
                  <a:pt x="11623" y="591181"/>
                  <a:pt x="-18688" y="377756"/>
                  <a:pt x="0" y="228007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5DEF851-EF3F-BE3A-A38E-8DA11BCA868E}"/>
              </a:ext>
            </a:extLst>
          </p:cNvPr>
          <p:cNvSpPr txBox="1"/>
          <p:nvPr/>
        </p:nvSpPr>
        <p:spPr>
          <a:xfrm>
            <a:off x="2970796" y="2847201"/>
            <a:ext cx="4619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Tab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3719015-E115-6602-D5A6-CD4ED04FF3FB}"/>
              </a:ext>
            </a:extLst>
          </p:cNvPr>
          <p:cNvSpPr txBox="1"/>
          <p:nvPr/>
        </p:nvSpPr>
        <p:spPr>
          <a:xfrm>
            <a:off x="3833090" y="3719268"/>
            <a:ext cx="8851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Input fields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2C65C423-A189-0D50-087B-FAC0A71500BE}"/>
              </a:ext>
            </a:extLst>
          </p:cNvPr>
          <p:cNvSpPr/>
          <p:nvPr/>
        </p:nvSpPr>
        <p:spPr>
          <a:xfrm>
            <a:off x="1605281" y="5429250"/>
            <a:ext cx="3576318" cy="403448"/>
          </a:xfrm>
          <a:custGeom>
            <a:avLst/>
            <a:gdLst>
              <a:gd name="connsiteX0" fmla="*/ 0 w 3576318"/>
              <a:gd name="connsiteY0" fmla="*/ 67243 h 403448"/>
              <a:gd name="connsiteX1" fmla="*/ 67243 w 3576318"/>
              <a:gd name="connsiteY1" fmla="*/ 0 h 403448"/>
              <a:gd name="connsiteX2" fmla="*/ 686773 w 3576318"/>
              <a:gd name="connsiteY2" fmla="*/ 0 h 403448"/>
              <a:gd name="connsiteX3" fmla="*/ 1340721 w 3576318"/>
              <a:gd name="connsiteY3" fmla="*/ 0 h 403448"/>
              <a:gd name="connsiteX4" fmla="*/ 1960251 w 3576318"/>
              <a:gd name="connsiteY4" fmla="*/ 0 h 403448"/>
              <a:gd name="connsiteX5" fmla="*/ 2683035 w 3576318"/>
              <a:gd name="connsiteY5" fmla="*/ 0 h 403448"/>
              <a:gd name="connsiteX6" fmla="*/ 3509075 w 3576318"/>
              <a:gd name="connsiteY6" fmla="*/ 0 h 403448"/>
              <a:gd name="connsiteX7" fmla="*/ 3576318 w 3576318"/>
              <a:gd name="connsiteY7" fmla="*/ 67243 h 403448"/>
              <a:gd name="connsiteX8" fmla="*/ 3576318 w 3576318"/>
              <a:gd name="connsiteY8" fmla="*/ 336205 h 403448"/>
              <a:gd name="connsiteX9" fmla="*/ 3509075 w 3576318"/>
              <a:gd name="connsiteY9" fmla="*/ 403448 h 403448"/>
              <a:gd name="connsiteX10" fmla="*/ 2751872 w 3576318"/>
              <a:gd name="connsiteY10" fmla="*/ 403448 h 403448"/>
              <a:gd name="connsiteX11" fmla="*/ 2132342 w 3576318"/>
              <a:gd name="connsiteY11" fmla="*/ 403448 h 403448"/>
              <a:gd name="connsiteX12" fmla="*/ 1409557 w 3576318"/>
              <a:gd name="connsiteY12" fmla="*/ 403448 h 403448"/>
              <a:gd name="connsiteX13" fmla="*/ 721191 w 3576318"/>
              <a:gd name="connsiteY13" fmla="*/ 403448 h 403448"/>
              <a:gd name="connsiteX14" fmla="*/ 67243 w 3576318"/>
              <a:gd name="connsiteY14" fmla="*/ 403448 h 403448"/>
              <a:gd name="connsiteX15" fmla="*/ 0 w 3576318"/>
              <a:gd name="connsiteY15" fmla="*/ 336205 h 403448"/>
              <a:gd name="connsiteX16" fmla="*/ 0 w 3576318"/>
              <a:gd name="connsiteY16" fmla="*/ 67243 h 403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576318" h="403448" extrusionOk="0">
                <a:moveTo>
                  <a:pt x="0" y="67243"/>
                </a:moveTo>
                <a:cubicBezTo>
                  <a:pt x="2629" y="30418"/>
                  <a:pt x="27170" y="-3950"/>
                  <a:pt x="67243" y="0"/>
                </a:cubicBezTo>
                <a:cubicBezTo>
                  <a:pt x="362639" y="20412"/>
                  <a:pt x="386875" y="21115"/>
                  <a:pt x="686773" y="0"/>
                </a:cubicBezTo>
                <a:cubicBezTo>
                  <a:pt x="986671" y="-21115"/>
                  <a:pt x="1114373" y="3939"/>
                  <a:pt x="1340721" y="0"/>
                </a:cubicBezTo>
                <a:cubicBezTo>
                  <a:pt x="1567069" y="-3939"/>
                  <a:pt x="1713361" y="-22120"/>
                  <a:pt x="1960251" y="0"/>
                </a:cubicBezTo>
                <a:cubicBezTo>
                  <a:pt x="2207141" y="22120"/>
                  <a:pt x="2518982" y="11263"/>
                  <a:pt x="2683035" y="0"/>
                </a:cubicBezTo>
                <a:cubicBezTo>
                  <a:pt x="2847088" y="-11263"/>
                  <a:pt x="3168721" y="5925"/>
                  <a:pt x="3509075" y="0"/>
                </a:cubicBezTo>
                <a:cubicBezTo>
                  <a:pt x="3549557" y="2154"/>
                  <a:pt x="3578828" y="27139"/>
                  <a:pt x="3576318" y="67243"/>
                </a:cubicBezTo>
                <a:cubicBezTo>
                  <a:pt x="3570219" y="137030"/>
                  <a:pt x="3579598" y="257723"/>
                  <a:pt x="3576318" y="336205"/>
                </a:cubicBezTo>
                <a:cubicBezTo>
                  <a:pt x="3577716" y="374957"/>
                  <a:pt x="3549754" y="399041"/>
                  <a:pt x="3509075" y="403448"/>
                </a:cubicBezTo>
                <a:cubicBezTo>
                  <a:pt x="3355616" y="436227"/>
                  <a:pt x="3042643" y="394590"/>
                  <a:pt x="2751872" y="403448"/>
                </a:cubicBezTo>
                <a:cubicBezTo>
                  <a:pt x="2461101" y="412306"/>
                  <a:pt x="2363110" y="419379"/>
                  <a:pt x="2132342" y="403448"/>
                </a:cubicBezTo>
                <a:cubicBezTo>
                  <a:pt x="1901574" y="387518"/>
                  <a:pt x="1588134" y="403772"/>
                  <a:pt x="1409557" y="403448"/>
                </a:cubicBezTo>
                <a:cubicBezTo>
                  <a:pt x="1230981" y="403124"/>
                  <a:pt x="1015236" y="384276"/>
                  <a:pt x="721191" y="403448"/>
                </a:cubicBezTo>
                <a:cubicBezTo>
                  <a:pt x="427146" y="422620"/>
                  <a:pt x="357514" y="389432"/>
                  <a:pt x="67243" y="403448"/>
                </a:cubicBezTo>
                <a:cubicBezTo>
                  <a:pt x="26268" y="408169"/>
                  <a:pt x="-3080" y="379571"/>
                  <a:pt x="0" y="336205"/>
                </a:cubicBezTo>
                <a:cubicBezTo>
                  <a:pt x="-3421" y="265999"/>
                  <a:pt x="12693" y="128349"/>
                  <a:pt x="0" y="67243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11B6037-1494-A207-4634-923898AB05B4}"/>
              </a:ext>
            </a:extLst>
          </p:cNvPr>
          <p:cNvSpPr txBox="1"/>
          <p:nvPr/>
        </p:nvSpPr>
        <p:spPr>
          <a:xfrm>
            <a:off x="5113250" y="5492474"/>
            <a:ext cx="14916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Deployment control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7D9CC59-8699-992F-BE1E-51F3CD87059F}"/>
              </a:ext>
            </a:extLst>
          </p:cNvPr>
          <p:cNvSpPr txBox="1"/>
          <p:nvPr/>
        </p:nvSpPr>
        <p:spPr>
          <a:xfrm>
            <a:off x="2586478" y="5138392"/>
            <a:ext cx="28138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Ui input fields to template param bindings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28B0551B-2A0E-6607-B188-875AFD437306}"/>
              </a:ext>
            </a:extLst>
          </p:cNvPr>
          <p:cNvSpPr/>
          <p:nvPr/>
        </p:nvSpPr>
        <p:spPr>
          <a:xfrm>
            <a:off x="1605281" y="5148691"/>
            <a:ext cx="1014438" cy="266700"/>
          </a:xfrm>
          <a:custGeom>
            <a:avLst/>
            <a:gdLst>
              <a:gd name="connsiteX0" fmla="*/ 0 w 1014438"/>
              <a:gd name="connsiteY0" fmla="*/ 44451 h 266700"/>
              <a:gd name="connsiteX1" fmla="*/ 44451 w 1014438"/>
              <a:gd name="connsiteY1" fmla="*/ 0 h 266700"/>
              <a:gd name="connsiteX2" fmla="*/ 488708 w 1014438"/>
              <a:gd name="connsiteY2" fmla="*/ 0 h 266700"/>
              <a:gd name="connsiteX3" fmla="*/ 969987 w 1014438"/>
              <a:gd name="connsiteY3" fmla="*/ 0 h 266700"/>
              <a:gd name="connsiteX4" fmla="*/ 1014438 w 1014438"/>
              <a:gd name="connsiteY4" fmla="*/ 44451 h 266700"/>
              <a:gd name="connsiteX5" fmla="*/ 1014438 w 1014438"/>
              <a:gd name="connsiteY5" fmla="*/ 222249 h 266700"/>
              <a:gd name="connsiteX6" fmla="*/ 969987 w 1014438"/>
              <a:gd name="connsiteY6" fmla="*/ 266700 h 266700"/>
              <a:gd name="connsiteX7" fmla="*/ 488708 w 1014438"/>
              <a:gd name="connsiteY7" fmla="*/ 266700 h 266700"/>
              <a:gd name="connsiteX8" fmla="*/ 44451 w 1014438"/>
              <a:gd name="connsiteY8" fmla="*/ 266700 h 266700"/>
              <a:gd name="connsiteX9" fmla="*/ 0 w 1014438"/>
              <a:gd name="connsiteY9" fmla="*/ 222249 h 266700"/>
              <a:gd name="connsiteX10" fmla="*/ 0 w 1014438"/>
              <a:gd name="connsiteY10" fmla="*/ 44451 h 26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014438" h="266700" extrusionOk="0">
                <a:moveTo>
                  <a:pt x="0" y="44451"/>
                </a:moveTo>
                <a:cubicBezTo>
                  <a:pt x="5337" y="20535"/>
                  <a:pt x="19089" y="-1093"/>
                  <a:pt x="44451" y="0"/>
                </a:cubicBezTo>
                <a:cubicBezTo>
                  <a:pt x="232134" y="-18722"/>
                  <a:pt x="274982" y="-2067"/>
                  <a:pt x="488708" y="0"/>
                </a:cubicBezTo>
                <a:cubicBezTo>
                  <a:pt x="702434" y="2067"/>
                  <a:pt x="743985" y="1199"/>
                  <a:pt x="969987" y="0"/>
                </a:cubicBezTo>
                <a:cubicBezTo>
                  <a:pt x="993479" y="4735"/>
                  <a:pt x="1013598" y="20041"/>
                  <a:pt x="1014438" y="44451"/>
                </a:cubicBezTo>
                <a:cubicBezTo>
                  <a:pt x="1010415" y="120342"/>
                  <a:pt x="1010169" y="159694"/>
                  <a:pt x="1014438" y="222249"/>
                </a:cubicBezTo>
                <a:cubicBezTo>
                  <a:pt x="1018896" y="249669"/>
                  <a:pt x="995779" y="265232"/>
                  <a:pt x="969987" y="266700"/>
                </a:cubicBezTo>
                <a:cubicBezTo>
                  <a:pt x="841458" y="275866"/>
                  <a:pt x="691781" y="249425"/>
                  <a:pt x="488708" y="266700"/>
                </a:cubicBezTo>
                <a:cubicBezTo>
                  <a:pt x="285635" y="283975"/>
                  <a:pt x="135153" y="282324"/>
                  <a:pt x="44451" y="266700"/>
                </a:cubicBezTo>
                <a:cubicBezTo>
                  <a:pt x="19826" y="265796"/>
                  <a:pt x="0" y="244500"/>
                  <a:pt x="0" y="222249"/>
                </a:cubicBezTo>
                <a:cubicBezTo>
                  <a:pt x="8172" y="162705"/>
                  <a:pt x="-8041" y="84955"/>
                  <a:pt x="0" y="44451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30609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Template Specs UI </a:t>
            </a:r>
            <a:r>
              <a:rPr lang="en-US" b="1" dirty="0"/>
              <a:t>elemen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FDF1FF9-8D21-4BEE-188A-20EA6F0DC84E}"/>
              </a:ext>
            </a:extLst>
          </p:cNvPr>
          <p:cNvSpPr txBox="1"/>
          <p:nvPr/>
        </p:nvSpPr>
        <p:spPr>
          <a:xfrm>
            <a:off x="615950" y="1612900"/>
            <a:ext cx="279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2"/>
              </a:rPr>
              <a:t>User interface elements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D3EEFB4-519E-2388-5E11-A6BBF42B0381}"/>
              </a:ext>
            </a:extLst>
          </p:cNvPr>
          <p:cNvSpPr txBox="1"/>
          <p:nvPr/>
        </p:nvSpPr>
        <p:spPr>
          <a:xfrm>
            <a:off x="3327400" y="1612900"/>
            <a:ext cx="263879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3"/>
              </a:rPr>
              <a:t>User interface functions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9DE0D97-D88B-9357-F4A3-C5642D04E2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14896" y="1982232"/>
            <a:ext cx="2114845" cy="255305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27F14E0-9E48-27BE-C7A6-ABC41DDEC13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5950" y="1991758"/>
            <a:ext cx="1667108" cy="254353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FB860586-8C02-45AB-4E86-A2D8EF4A4F6D}"/>
              </a:ext>
            </a:extLst>
          </p:cNvPr>
          <p:cNvSpPr txBox="1"/>
          <p:nvPr/>
        </p:nvSpPr>
        <p:spPr>
          <a:xfrm>
            <a:off x="6096000" y="1612900"/>
            <a:ext cx="263879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6"/>
              </a:rPr>
              <a:t>Sandbox utility</a:t>
            </a:r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1B45B99-A2A3-358F-047B-9584E1CB3C1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85702" y="2048909"/>
            <a:ext cx="5002998" cy="3079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77188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Template Specs UI </a:t>
            </a:r>
            <a:r>
              <a:rPr lang="en-US" i="0" u="none" strike="noStrike" dirty="0"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alls to Azure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The: </a:t>
            </a:r>
            <a:r>
              <a:rPr lang="en-US" sz="2000" dirty="0" err="1"/>
              <a:t>Microsoft.Solutions.ArmApiControl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7</a:t>
            </a:fld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1414384" y="2841878"/>
            <a:ext cx="1571305" cy="1560279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7925" y="2526460"/>
            <a:ext cx="1963754" cy="196375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9C09223-D36A-E074-1AA6-0CB54D96C302}"/>
              </a:ext>
            </a:extLst>
          </p:cNvPr>
          <p:cNvSpPr txBox="1"/>
          <p:nvPr/>
        </p:nvSpPr>
        <p:spPr>
          <a:xfrm>
            <a:off x="861162" y="4896951"/>
            <a:ext cx="1236877" cy="369332"/>
          </a:xfrm>
          <a:custGeom>
            <a:avLst/>
            <a:gdLst>
              <a:gd name="connsiteX0" fmla="*/ 0 w 1236877"/>
              <a:gd name="connsiteY0" fmla="*/ 0 h 369332"/>
              <a:gd name="connsiteX1" fmla="*/ 399924 w 1236877"/>
              <a:gd name="connsiteY1" fmla="*/ 0 h 369332"/>
              <a:gd name="connsiteX2" fmla="*/ 775110 w 1236877"/>
              <a:gd name="connsiteY2" fmla="*/ 0 h 369332"/>
              <a:gd name="connsiteX3" fmla="*/ 1236877 w 1236877"/>
              <a:gd name="connsiteY3" fmla="*/ 0 h 369332"/>
              <a:gd name="connsiteX4" fmla="*/ 1236877 w 1236877"/>
              <a:gd name="connsiteY4" fmla="*/ 369332 h 369332"/>
              <a:gd name="connsiteX5" fmla="*/ 849322 w 1236877"/>
              <a:gd name="connsiteY5" fmla="*/ 369332 h 369332"/>
              <a:gd name="connsiteX6" fmla="*/ 412292 w 1236877"/>
              <a:gd name="connsiteY6" fmla="*/ 369332 h 369332"/>
              <a:gd name="connsiteX7" fmla="*/ 0 w 1236877"/>
              <a:gd name="connsiteY7" fmla="*/ 369332 h 369332"/>
              <a:gd name="connsiteX8" fmla="*/ 0 w 1236877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36877" h="369332" extrusionOk="0">
                <a:moveTo>
                  <a:pt x="0" y="0"/>
                </a:moveTo>
                <a:cubicBezTo>
                  <a:pt x="175328" y="-17771"/>
                  <a:pt x="280012" y="20305"/>
                  <a:pt x="399924" y="0"/>
                </a:cubicBezTo>
                <a:cubicBezTo>
                  <a:pt x="519836" y="-20305"/>
                  <a:pt x="673338" y="9360"/>
                  <a:pt x="775110" y="0"/>
                </a:cubicBezTo>
                <a:cubicBezTo>
                  <a:pt x="876882" y="-9360"/>
                  <a:pt x="1091270" y="30966"/>
                  <a:pt x="1236877" y="0"/>
                </a:cubicBezTo>
                <a:cubicBezTo>
                  <a:pt x="1272465" y="113493"/>
                  <a:pt x="1210070" y="197069"/>
                  <a:pt x="1236877" y="369332"/>
                </a:cubicBezTo>
                <a:cubicBezTo>
                  <a:pt x="1057692" y="380605"/>
                  <a:pt x="987291" y="349777"/>
                  <a:pt x="849322" y="369332"/>
                </a:cubicBezTo>
                <a:cubicBezTo>
                  <a:pt x="711353" y="388887"/>
                  <a:pt x="537900" y="327536"/>
                  <a:pt x="412292" y="369332"/>
                </a:cubicBezTo>
                <a:cubicBezTo>
                  <a:pt x="286684" y="411128"/>
                  <a:pt x="158184" y="356080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Developer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9CEC175-E2F9-A40F-65CB-92B68AEF21E7}"/>
              </a:ext>
            </a:extLst>
          </p:cNvPr>
          <p:cNvSpPr txBox="1"/>
          <p:nvPr/>
        </p:nvSpPr>
        <p:spPr>
          <a:xfrm>
            <a:off x="1508830" y="5420858"/>
            <a:ext cx="1548565" cy="369332"/>
          </a:xfrm>
          <a:custGeom>
            <a:avLst/>
            <a:gdLst>
              <a:gd name="connsiteX0" fmla="*/ 0 w 1548565"/>
              <a:gd name="connsiteY0" fmla="*/ 0 h 369332"/>
              <a:gd name="connsiteX1" fmla="*/ 500703 w 1548565"/>
              <a:gd name="connsiteY1" fmla="*/ 0 h 369332"/>
              <a:gd name="connsiteX2" fmla="*/ 970434 w 1548565"/>
              <a:gd name="connsiteY2" fmla="*/ 0 h 369332"/>
              <a:gd name="connsiteX3" fmla="*/ 1548565 w 1548565"/>
              <a:gd name="connsiteY3" fmla="*/ 0 h 369332"/>
              <a:gd name="connsiteX4" fmla="*/ 1548565 w 1548565"/>
              <a:gd name="connsiteY4" fmla="*/ 369332 h 369332"/>
              <a:gd name="connsiteX5" fmla="*/ 1063348 w 1548565"/>
              <a:gd name="connsiteY5" fmla="*/ 369332 h 369332"/>
              <a:gd name="connsiteX6" fmla="*/ 516188 w 1548565"/>
              <a:gd name="connsiteY6" fmla="*/ 369332 h 369332"/>
              <a:gd name="connsiteX7" fmla="*/ 0 w 1548565"/>
              <a:gd name="connsiteY7" fmla="*/ 369332 h 369332"/>
              <a:gd name="connsiteX8" fmla="*/ 0 w 1548565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48565" h="369332" extrusionOk="0">
                <a:moveTo>
                  <a:pt x="0" y="0"/>
                </a:moveTo>
                <a:cubicBezTo>
                  <a:pt x="188744" y="-47250"/>
                  <a:pt x="363565" y="29188"/>
                  <a:pt x="500703" y="0"/>
                </a:cubicBezTo>
                <a:cubicBezTo>
                  <a:pt x="637841" y="-29188"/>
                  <a:pt x="876338" y="27244"/>
                  <a:pt x="970434" y="0"/>
                </a:cubicBezTo>
                <a:cubicBezTo>
                  <a:pt x="1064530" y="-27244"/>
                  <a:pt x="1364252" y="59563"/>
                  <a:pt x="1548565" y="0"/>
                </a:cubicBezTo>
                <a:cubicBezTo>
                  <a:pt x="1584153" y="113493"/>
                  <a:pt x="1521758" y="197069"/>
                  <a:pt x="1548565" y="369332"/>
                </a:cubicBezTo>
                <a:cubicBezTo>
                  <a:pt x="1380486" y="378330"/>
                  <a:pt x="1230603" y="356389"/>
                  <a:pt x="1063348" y="369332"/>
                </a:cubicBezTo>
                <a:cubicBezTo>
                  <a:pt x="896093" y="382275"/>
                  <a:pt x="690595" y="357083"/>
                  <a:pt x="516188" y="369332"/>
                </a:cubicBezTo>
                <a:cubicBezTo>
                  <a:pt x="341781" y="381581"/>
                  <a:pt x="145639" y="33595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Platform Team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970DDF6-1DAA-110B-AD62-F1DB1D9FB745}"/>
              </a:ext>
            </a:extLst>
          </p:cNvPr>
          <p:cNvSpPr txBox="1"/>
          <p:nvPr/>
        </p:nvSpPr>
        <p:spPr>
          <a:xfrm>
            <a:off x="635322" y="4373044"/>
            <a:ext cx="2422073" cy="369332"/>
          </a:xfrm>
          <a:custGeom>
            <a:avLst/>
            <a:gdLst>
              <a:gd name="connsiteX0" fmla="*/ 0 w 2422073"/>
              <a:gd name="connsiteY0" fmla="*/ 0 h 369332"/>
              <a:gd name="connsiteX1" fmla="*/ 460194 w 2422073"/>
              <a:gd name="connsiteY1" fmla="*/ 0 h 369332"/>
              <a:gd name="connsiteX2" fmla="*/ 871946 w 2422073"/>
              <a:gd name="connsiteY2" fmla="*/ 0 h 369332"/>
              <a:gd name="connsiteX3" fmla="*/ 1404802 w 2422073"/>
              <a:gd name="connsiteY3" fmla="*/ 0 h 369332"/>
              <a:gd name="connsiteX4" fmla="*/ 1864996 w 2422073"/>
              <a:gd name="connsiteY4" fmla="*/ 0 h 369332"/>
              <a:gd name="connsiteX5" fmla="*/ 2422073 w 2422073"/>
              <a:gd name="connsiteY5" fmla="*/ 0 h 369332"/>
              <a:gd name="connsiteX6" fmla="*/ 2422073 w 2422073"/>
              <a:gd name="connsiteY6" fmla="*/ 369332 h 369332"/>
              <a:gd name="connsiteX7" fmla="*/ 1937658 w 2422073"/>
              <a:gd name="connsiteY7" fmla="*/ 369332 h 369332"/>
              <a:gd name="connsiteX8" fmla="*/ 1404802 w 2422073"/>
              <a:gd name="connsiteY8" fmla="*/ 369332 h 369332"/>
              <a:gd name="connsiteX9" fmla="*/ 993050 w 2422073"/>
              <a:gd name="connsiteY9" fmla="*/ 369332 h 369332"/>
              <a:gd name="connsiteX10" fmla="*/ 508635 w 2422073"/>
              <a:gd name="connsiteY10" fmla="*/ 369332 h 369332"/>
              <a:gd name="connsiteX11" fmla="*/ 0 w 2422073"/>
              <a:gd name="connsiteY11" fmla="*/ 369332 h 369332"/>
              <a:gd name="connsiteX12" fmla="*/ 0 w 2422073"/>
              <a:gd name="connsiteY12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22073" h="369332" extrusionOk="0">
                <a:moveTo>
                  <a:pt x="0" y="0"/>
                </a:moveTo>
                <a:cubicBezTo>
                  <a:pt x="199693" y="-10251"/>
                  <a:pt x="246167" y="30869"/>
                  <a:pt x="460194" y="0"/>
                </a:cubicBezTo>
                <a:cubicBezTo>
                  <a:pt x="674221" y="-30869"/>
                  <a:pt x="708354" y="1783"/>
                  <a:pt x="871946" y="0"/>
                </a:cubicBezTo>
                <a:cubicBezTo>
                  <a:pt x="1035538" y="-1783"/>
                  <a:pt x="1215339" y="49588"/>
                  <a:pt x="1404802" y="0"/>
                </a:cubicBezTo>
                <a:cubicBezTo>
                  <a:pt x="1594265" y="-49588"/>
                  <a:pt x="1640279" y="31720"/>
                  <a:pt x="1864996" y="0"/>
                </a:cubicBezTo>
                <a:cubicBezTo>
                  <a:pt x="2089713" y="-31720"/>
                  <a:pt x="2225679" y="45722"/>
                  <a:pt x="2422073" y="0"/>
                </a:cubicBezTo>
                <a:cubicBezTo>
                  <a:pt x="2458233" y="81226"/>
                  <a:pt x="2400535" y="278722"/>
                  <a:pt x="2422073" y="369332"/>
                </a:cubicBezTo>
                <a:cubicBezTo>
                  <a:pt x="2243299" y="402811"/>
                  <a:pt x="2104963" y="338227"/>
                  <a:pt x="1937658" y="369332"/>
                </a:cubicBezTo>
                <a:cubicBezTo>
                  <a:pt x="1770354" y="400437"/>
                  <a:pt x="1620687" y="307360"/>
                  <a:pt x="1404802" y="369332"/>
                </a:cubicBezTo>
                <a:cubicBezTo>
                  <a:pt x="1188917" y="431304"/>
                  <a:pt x="1131819" y="335684"/>
                  <a:pt x="993050" y="369332"/>
                </a:cubicBezTo>
                <a:cubicBezTo>
                  <a:pt x="854281" y="402980"/>
                  <a:pt x="704761" y="348963"/>
                  <a:pt x="508635" y="369332"/>
                </a:cubicBezTo>
                <a:cubicBezTo>
                  <a:pt x="312510" y="389701"/>
                  <a:pt x="246365" y="328998"/>
                  <a:pt x="0" y="369332"/>
                </a:cubicBezTo>
                <a:cubicBezTo>
                  <a:pt x="-36656" y="211973"/>
                  <a:pt x="14639" y="175527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Operations/Onboarding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804B82E-E9C1-DD3E-AEBA-9A64F4356BD5}"/>
              </a:ext>
            </a:extLst>
          </p:cNvPr>
          <p:cNvSpPr/>
          <p:nvPr/>
        </p:nvSpPr>
        <p:spPr>
          <a:xfrm>
            <a:off x="8729254" y="4337825"/>
            <a:ext cx="1270677" cy="386034"/>
          </a:xfrm>
          <a:custGeom>
            <a:avLst/>
            <a:gdLst>
              <a:gd name="connsiteX0" fmla="*/ 0 w 1270677"/>
              <a:gd name="connsiteY0" fmla="*/ 64340 h 386034"/>
              <a:gd name="connsiteX1" fmla="*/ 64340 w 1270677"/>
              <a:gd name="connsiteY1" fmla="*/ 0 h 386034"/>
              <a:gd name="connsiteX2" fmla="*/ 658178 w 1270677"/>
              <a:gd name="connsiteY2" fmla="*/ 0 h 386034"/>
              <a:gd name="connsiteX3" fmla="*/ 1206337 w 1270677"/>
              <a:gd name="connsiteY3" fmla="*/ 0 h 386034"/>
              <a:gd name="connsiteX4" fmla="*/ 1270677 w 1270677"/>
              <a:gd name="connsiteY4" fmla="*/ 64340 h 386034"/>
              <a:gd name="connsiteX5" fmla="*/ 1270677 w 1270677"/>
              <a:gd name="connsiteY5" fmla="*/ 321694 h 386034"/>
              <a:gd name="connsiteX6" fmla="*/ 1206337 w 1270677"/>
              <a:gd name="connsiteY6" fmla="*/ 386034 h 386034"/>
              <a:gd name="connsiteX7" fmla="*/ 635339 w 1270677"/>
              <a:gd name="connsiteY7" fmla="*/ 386034 h 386034"/>
              <a:gd name="connsiteX8" fmla="*/ 64340 w 1270677"/>
              <a:gd name="connsiteY8" fmla="*/ 386034 h 386034"/>
              <a:gd name="connsiteX9" fmla="*/ 0 w 1270677"/>
              <a:gd name="connsiteY9" fmla="*/ 321694 h 386034"/>
              <a:gd name="connsiteX10" fmla="*/ 0 w 1270677"/>
              <a:gd name="connsiteY10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70677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305104" y="-12353"/>
                  <a:pt x="404359" y="-13726"/>
                  <a:pt x="658178" y="0"/>
                </a:cubicBezTo>
                <a:cubicBezTo>
                  <a:pt x="911997" y="13726"/>
                  <a:pt x="1013716" y="-11684"/>
                  <a:pt x="1206337" y="0"/>
                </a:cubicBezTo>
                <a:cubicBezTo>
                  <a:pt x="1234352" y="-4114"/>
                  <a:pt x="1274606" y="30683"/>
                  <a:pt x="1270677" y="64340"/>
                </a:cubicBezTo>
                <a:cubicBezTo>
                  <a:pt x="1276931" y="162416"/>
                  <a:pt x="1279897" y="205598"/>
                  <a:pt x="1270677" y="321694"/>
                </a:cubicBezTo>
                <a:cubicBezTo>
                  <a:pt x="1272476" y="354301"/>
                  <a:pt x="1236545" y="390714"/>
                  <a:pt x="1206337" y="386034"/>
                </a:cubicBezTo>
                <a:cubicBezTo>
                  <a:pt x="1018204" y="391331"/>
                  <a:pt x="872347" y="408582"/>
                  <a:pt x="635339" y="386034"/>
                </a:cubicBezTo>
                <a:cubicBezTo>
                  <a:pt x="398331" y="363486"/>
                  <a:pt x="230275" y="367458"/>
                  <a:pt x="64340" y="386034"/>
                </a:cubicBezTo>
                <a:cubicBezTo>
                  <a:pt x="21150" y="385596"/>
                  <a:pt x="2276" y="350987"/>
                  <a:pt x="0" y="321694"/>
                </a:cubicBezTo>
                <a:cubicBezTo>
                  <a:pt x="3363" y="261429"/>
                  <a:pt x="10077" y="168251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latform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BBAE00B-5B22-3315-FC13-44FF9745CE42}"/>
              </a:ext>
            </a:extLst>
          </p:cNvPr>
          <p:cNvSpPr/>
          <p:nvPr/>
        </p:nvSpPr>
        <p:spPr>
          <a:xfrm>
            <a:off x="8098358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2FC9430-89FA-B6F5-FF73-09BF4CD95552}"/>
              </a:ext>
            </a:extLst>
          </p:cNvPr>
          <p:cNvSpPr txBox="1">
            <a:spLocks/>
          </p:cNvSpPr>
          <p:nvPr/>
        </p:nvSpPr>
        <p:spPr>
          <a:xfrm>
            <a:off x="4398363" y="4349404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Key Principles</a:t>
            </a:r>
          </a:p>
          <a:p>
            <a:pPr>
              <a:buFontTx/>
              <a:buChar char="-"/>
            </a:pPr>
            <a:r>
              <a:rPr lang="en-US" sz="1600" dirty="0"/>
              <a:t>Source Control</a:t>
            </a:r>
          </a:p>
          <a:p>
            <a:pPr>
              <a:buFontTx/>
              <a:buChar char="-"/>
            </a:pPr>
            <a:r>
              <a:rPr lang="en-US" sz="1600" dirty="0"/>
              <a:t>Modularization and versioning</a:t>
            </a:r>
          </a:p>
          <a:p>
            <a:pPr>
              <a:buFontTx/>
              <a:buChar char="-"/>
            </a:pPr>
            <a:r>
              <a:rPr lang="en-US" sz="1600" dirty="0"/>
              <a:t>Idempotency</a:t>
            </a:r>
          </a:p>
          <a:p>
            <a:pPr>
              <a:buFontTx/>
              <a:buChar char="-"/>
            </a:pPr>
            <a:r>
              <a:rPr lang="en-US" sz="1600" dirty="0"/>
              <a:t>Immutability</a:t>
            </a:r>
          </a:p>
          <a:p>
            <a:pPr>
              <a:buFontTx/>
              <a:buChar char="-"/>
            </a:pPr>
            <a:r>
              <a:rPr lang="en-US" sz="1600" dirty="0"/>
              <a:t>CICD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E96F421-5C8F-D7AC-CB8E-03B2D301D14F}"/>
              </a:ext>
            </a:extLst>
          </p:cNvPr>
          <p:cNvSpPr/>
          <p:nvPr/>
        </p:nvSpPr>
        <p:spPr>
          <a:xfrm>
            <a:off x="8952275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D0C9F23-91D5-336C-C039-30C996918F95}"/>
              </a:ext>
            </a:extLst>
          </p:cNvPr>
          <p:cNvSpPr/>
          <p:nvPr/>
        </p:nvSpPr>
        <p:spPr>
          <a:xfrm>
            <a:off x="9806192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FFC8AE4-5582-19C0-DED3-63D8270B8571}"/>
              </a:ext>
            </a:extLst>
          </p:cNvPr>
          <p:cNvGrpSpPr/>
          <p:nvPr/>
        </p:nvGrpSpPr>
        <p:grpSpPr>
          <a:xfrm>
            <a:off x="5075020" y="2636981"/>
            <a:ext cx="1491970" cy="1694291"/>
            <a:chOff x="3591201" y="2800773"/>
            <a:chExt cx="887513" cy="946980"/>
          </a:xfrm>
        </p:grpSpPr>
        <p:pic>
          <p:nvPicPr>
            <p:cNvPr id="30" name="Picture 2">
              <a:extLst>
                <a:ext uri="{FF2B5EF4-FFF2-40B4-BE49-F238E27FC236}">
                  <a16:creationId xmlns:a16="http://schemas.microsoft.com/office/drawing/2014/main" id="{804CD20B-D34E-E250-FE43-7F9A9816001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5289" y="280077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2">
              <a:extLst>
                <a:ext uri="{FF2B5EF4-FFF2-40B4-BE49-F238E27FC236}">
                  <a16:creationId xmlns:a16="http://schemas.microsoft.com/office/drawing/2014/main" id="{589B69B8-B088-4632-7BDA-773B26D65C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2438" y="2864688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0" name="Picture 2">
              <a:extLst>
                <a:ext uri="{FF2B5EF4-FFF2-40B4-BE49-F238E27FC236}">
                  <a16:creationId xmlns:a16="http://schemas.microsoft.com/office/drawing/2014/main" id="{5E82655F-7EC7-C105-EAA2-389E5E131E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1201" y="292860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24EF291-C501-D101-0029-071EE9043CF4}"/>
              </a:ext>
            </a:extLst>
          </p:cNvPr>
          <p:cNvSpPr/>
          <p:nvPr/>
        </p:nvSpPr>
        <p:spPr>
          <a:xfrm>
            <a:off x="4187983" y="2655113"/>
            <a:ext cx="3083058" cy="3540825"/>
          </a:xfrm>
          <a:custGeom>
            <a:avLst/>
            <a:gdLst>
              <a:gd name="connsiteX0" fmla="*/ 0 w 3083058"/>
              <a:gd name="connsiteY0" fmla="*/ 513853 h 3540825"/>
              <a:gd name="connsiteX1" fmla="*/ 513853 w 3083058"/>
              <a:gd name="connsiteY1" fmla="*/ 0 h 3540825"/>
              <a:gd name="connsiteX2" fmla="*/ 1068798 w 3083058"/>
              <a:gd name="connsiteY2" fmla="*/ 0 h 3540825"/>
              <a:gd name="connsiteX3" fmla="*/ 1562083 w 3083058"/>
              <a:gd name="connsiteY3" fmla="*/ 0 h 3540825"/>
              <a:gd name="connsiteX4" fmla="*/ 2034813 w 3083058"/>
              <a:gd name="connsiteY4" fmla="*/ 0 h 3540825"/>
              <a:gd name="connsiteX5" fmla="*/ 2569205 w 3083058"/>
              <a:gd name="connsiteY5" fmla="*/ 0 h 3540825"/>
              <a:gd name="connsiteX6" fmla="*/ 3083058 w 3083058"/>
              <a:gd name="connsiteY6" fmla="*/ 513853 h 3540825"/>
              <a:gd name="connsiteX7" fmla="*/ 3083058 w 3083058"/>
              <a:gd name="connsiteY7" fmla="*/ 1016477 h 3540825"/>
              <a:gd name="connsiteX8" fmla="*/ 3083058 w 3083058"/>
              <a:gd name="connsiteY8" fmla="*/ 1569363 h 3540825"/>
              <a:gd name="connsiteX9" fmla="*/ 3083058 w 3083058"/>
              <a:gd name="connsiteY9" fmla="*/ 1996593 h 3540825"/>
              <a:gd name="connsiteX10" fmla="*/ 3083058 w 3083058"/>
              <a:gd name="connsiteY10" fmla="*/ 2499217 h 3540825"/>
              <a:gd name="connsiteX11" fmla="*/ 3083058 w 3083058"/>
              <a:gd name="connsiteY11" fmla="*/ 3026972 h 3540825"/>
              <a:gd name="connsiteX12" fmla="*/ 2569205 w 3083058"/>
              <a:gd name="connsiteY12" fmla="*/ 3540825 h 3540825"/>
              <a:gd name="connsiteX13" fmla="*/ 2055367 w 3083058"/>
              <a:gd name="connsiteY13" fmla="*/ 3540825 h 3540825"/>
              <a:gd name="connsiteX14" fmla="*/ 1582636 w 3083058"/>
              <a:gd name="connsiteY14" fmla="*/ 3540825 h 3540825"/>
              <a:gd name="connsiteX15" fmla="*/ 1068798 w 3083058"/>
              <a:gd name="connsiteY15" fmla="*/ 3540825 h 3540825"/>
              <a:gd name="connsiteX16" fmla="*/ 513853 w 3083058"/>
              <a:gd name="connsiteY16" fmla="*/ 3540825 h 3540825"/>
              <a:gd name="connsiteX17" fmla="*/ 0 w 3083058"/>
              <a:gd name="connsiteY17" fmla="*/ 3026972 h 3540825"/>
              <a:gd name="connsiteX18" fmla="*/ 0 w 3083058"/>
              <a:gd name="connsiteY18" fmla="*/ 2599742 h 3540825"/>
              <a:gd name="connsiteX19" fmla="*/ 0 w 3083058"/>
              <a:gd name="connsiteY19" fmla="*/ 2046856 h 3540825"/>
              <a:gd name="connsiteX20" fmla="*/ 0 w 3083058"/>
              <a:gd name="connsiteY20" fmla="*/ 1544232 h 3540825"/>
              <a:gd name="connsiteX21" fmla="*/ 0 w 3083058"/>
              <a:gd name="connsiteY21" fmla="*/ 1091870 h 3540825"/>
              <a:gd name="connsiteX22" fmla="*/ 0 w 3083058"/>
              <a:gd name="connsiteY22" fmla="*/ 513853 h 3540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083058" h="3540825" extrusionOk="0">
                <a:moveTo>
                  <a:pt x="0" y="513853"/>
                </a:moveTo>
                <a:cubicBezTo>
                  <a:pt x="-63821" y="190694"/>
                  <a:pt x="187314" y="16043"/>
                  <a:pt x="513853" y="0"/>
                </a:cubicBezTo>
                <a:cubicBezTo>
                  <a:pt x="713129" y="-14821"/>
                  <a:pt x="869427" y="28123"/>
                  <a:pt x="1068798" y="0"/>
                </a:cubicBezTo>
                <a:cubicBezTo>
                  <a:pt x="1268169" y="-28123"/>
                  <a:pt x="1317565" y="57900"/>
                  <a:pt x="1562083" y="0"/>
                </a:cubicBezTo>
                <a:cubicBezTo>
                  <a:pt x="1806601" y="-57900"/>
                  <a:pt x="1851761" y="11437"/>
                  <a:pt x="2034813" y="0"/>
                </a:cubicBezTo>
                <a:cubicBezTo>
                  <a:pt x="2217865" y="-11437"/>
                  <a:pt x="2452544" y="48083"/>
                  <a:pt x="2569205" y="0"/>
                </a:cubicBezTo>
                <a:cubicBezTo>
                  <a:pt x="2873950" y="-43120"/>
                  <a:pt x="3066959" y="227595"/>
                  <a:pt x="3083058" y="513853"/>
                </a:cubicBezTo>
                <a:cubicBezTo>
                  <a:pt x="3084645" y="647007"/>
                  <a:pt x="3071786" y="798711"/>
                  <a:pt x="3083058" y="1016477"/>
                </a:cubicBezTo>
                <a:cubicBezTo>
                  <a:pt x="3094330" y="1234243"/>
                  <a:pt x="3034871" y="1414205"/>
                  <a:pt x="3083058" y="1569363"/>
                </a:cubicBezTo>
                <a:cubicBezTo>
                  <a:pt x="3131245" y="1724521"/>
                  <a:pt x="3040623" y="1860339"/>
                  <a:pt x="3083058" y="1996593"/>
                </a:cubicBezTo>
                <a:cubicBezTo>
                  <a:pt x="3125493" y="2132847"/>
                  <a:pt x="3073548" y="2354671"/>
                  <a:pt x="3083058" y="2499217"/>
                </a:cubicBezTo>
                <a:cubicBezTo>
                  <a:pt x="3092568" y="2643763"/>
                  <a:pt x="3046948" y="2798149"/>
                  <a:pt x="3083058" y="3026972"/>
                </a:cubicBezTo>
                <a:cubicBezTo>
                  <a:pt x="3128088" y="3266268"/>
                  <a:pt x="2908958" y="3504742"/>
                  <a:pt x="2569205" y="3540825"/>
                </a:cubicBezTo>
                <a:cubicBezTo>
                  <a:pt x="2439243" y="3581174"/>
                  <a:pt x="2174681" y="3489289"/>
                  <a:pt x="2055367" y="3540825"/>
                </a:cubicBezTo>
                <a:cubicBezTo>
                  <a:pt x="1936053" y="3592361"/>
                  <a:pt x="1730368" y="3534225"/>
                  <a:pt x="1582636" y="3540825"/>
                </a:cubicBezTo>
                <a:cubicBezTo>
                  <a:pt x="1434904" y="3547425"/>
                  <a:pt x="1224339" y="3521937"/>
                  <a:pt x="1068798" y="3540825"/>
                </a:cubicBezTo>
                <a:cubicBezTo>
                  <a:pt x="913257" y="3559713"/>
                  <a:pt x="735699" y="3485737"/>
                  <a:pt x="513853" y="3540825"/>
                </a:cubicBezTo>
                <a:cubicBezTo>
                  <a:pt x="219566" y="3509258"/>
                  <a:pt x="76651" y="3295193"/>
                  <a:pt x="0" y="3026972"/>
                </a:cubicBezTo>
                <a:cubicBezTo>
                  <a:pt x="-33977" y="2891023"/>
                  <a:pt x="13887" y="2801848"/>
                  <a:pt x="0" y="2599742"/>
                </a:cubicBezTo>
                <a:cubicBezTo>
                  <a:pt x="-13887" y="2397636"/>
                  <a:pt x="41711" y="2235790"/>
                  <a:pt x="0" y="2046856"/>
                </a:cubicBezTo>
                <a:cubicBezTo>
                  <a:pt x="-41711" y="1857922"/>
                  <a:pt x="34097" y="1747840"/>
                  <a:pt x="0" y="1544232"/>
                </a:cubicBezTo>
                <a:cubicBezTo>
                  <a:pt x="-34097" y="1340624"/>
                  <a:pt x="25886" y="1240929"/>
                  <a:pt x="0" y="1091870"/>
                </a:cubicBezTo>
                <a:cubicBezTo>
                  <a:pt x="-25886" y="942811"/>
                  <a:pt x="64959" y="742895"/>
                  <a:pt x="0" y="513853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118770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8D79A74-918D-0D24-3CD3-FB6E2FE8B1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9489" y="2062933"/>
            <a:ext cx="5270500" cy="43478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Template Specs UI </a:t>
            </a:r>
            <a:r>
              <a:rPr lang="en-US" i="0" u="none" strike="noStrike" dirty="0"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alls to Entra Id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C23C2E65-D17D-5264-F977-99956173EC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40030" y="2866367"/>
            <a:ext cx="5492481" cy="2845460"/>
          </a:xfrm>
          <a:prstGeom prst="rect">
            <a:avLst/>
          </a:prstGeom>
        </p:spPr>
      </p:pic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BD84ADEE-E752-F94E-D844-A11CD79F3FD8}"/>
              </a:ext>
            </a:extLst>
          </p:cNvPr>
          <p:cNvSpPr/>
          <p:nvPr/>
        </p:nvSpPr>
        <p:spPr>
          <a:xfrm>
            <a:off x="817879" y="2402840"/>
            <a:ext cx="3383281" cy="355600"/>
          </a:xfrm>
          <a:custGeom>
            <a:avLst/>
            <a:gdLst>
              <a:gd name="connsiteX0" fmla="*/ 0 w 3383281"/>
              <a:gd name="connsiteY0" fmla="*/ 59268 h 355600"/>
              <a:gd name="connsiteX1" fmla="*/ 59268 w 3383281"/>
              <a:gd name="connsiteY1" fmla="*/ 0 h 355600"/>
              <a:gd name="connsiteX2" fmla="*/ 646922 w 3383281"/>
              <a:gd name="connsiteY2" fmla="*/ 0 h 355600"/>
              <a:gd name="connsiteX3" fmla="*/ 1267224 w 3383281"/>
              <a:gd name="connsiteY3" fmla="*/ 0 h 355600"/>
              <a:gd name="connsiteX4" fmla="*/ 1854878 w 3383281"/>
              <a:gd name="connsiteY4" fmla="*/ 0 h 355600"/>
              <a:gd name="connsiteX5" fmla="*/ 2540474 w 3383281"/>
              <a:gd name="connsiteY5" fmla="*/ 0 h 355600"/>
              <a:gd name="connsiteX6" fmla="*/ 3324013 w 3383281"/>
              <a:gd name="connsiteY6" fmla="*/ 0 h 355600"/>
              <a:gd name="connsiteX7" fmla="*/ 3383281 w 3383281"/>
              <a:gd name="connsiteY7" fmla="*/ 59268 h 355600"/>
              <a:gd name="connsiteX8" fmla="*/ 3383281 w 3383281"/>
              <a:gd name="connsiteY8" fmla="*/ 296332 h 355600"/>
              <a:gd name="connsiteX9" fmla="*/ 3324013 w 3383281"/>
              <a:gd name="connsiteY9" fmla="*/ 355600 h 355600"/>
              <a:gd name="connsiteX10" fmla="*/ 2605769 w 3383281"/>
              <a:gd name="connsiteY10" fmla="*/ 355600 h 355600"/>
              <a:gd name="connsiteX11" fmla="*/ 2018115 w 3383281"/>
              <a:gd name="connsiteY11" fmla="*/ 355600 h 355600"/>
              <a:gd name="connsiteX12" fmla="*/ 1332519 w 3383281"/>
              <a:gd name="connsiteY12" fmla="*/ 355600 h 355600"/>
              <a:gd name="connsiteX13" fmla="*/ 679570 w 3383281"/>
              <a:gd name="connsiteY13" fmla="*/ 355600 h 355600"/>
              <a:gd name="connsiteX14" fmla="*/ 59268 w 3383281"/>
              <a:gd name="connsiteY14" fmla="*/ 355600 h 355600"/>
              <a:gd name="connsiteX15" fmla="*/ 0 w 3383281"/>
              <a:gd name="connsiteY15" fmla="*/ 296332 h 355600"/>
              <a:gd name="connsiteX16" fmla="*/ 0 w 3383281"/>
              <a:gd name="connsiteY16" fmla="*/ 59268 h 35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383281" h="355600" extrusionOk="0">
                <a:moveTo>
                  <a:pt x="0" y="59268"/>
                </a:moveTo>
                <a:cubicBezTo>
                  <a:pt x="3005" y="26892"/>
                  <a:pt x="24120" y="-3250"/>
                  <a:pt x="59268" y="0"/>
                </a:cubicBezTo>
                <a:cubicBezTo>
                  <a:pt x="180762" y="-16062"/>
                  <a:pt x="353106" y="-9918"/>
                  <a:pt x="646922" y="0"/>
                </a:cubicBezTo>
                <a:cubicBezTo>
                  <a:pt x="940738" y="9918"/>
                  <a:pt x="1074640" y="10375"/>
                  <a:pt x="1267224" y="0"/>
                </a:cubicBezTo>
                <a:cubicBezTo>
                  <a:pt x="1459808" y="-10375"/>
                  <a:pt x="1645112" y="27760"/>
                  <a:pt x="1854878" y="0"/>
                </a:cubicBezTo>
                <a:cubicBezTo>
                  <a:pt x="2064644" y="-27760"/>
                  <a:pt x="2326604" y="19255"/>
                  <a:pt x="2540474" y="0"/>
                </a:cubicBezTo>
                <a:cubicBezTo>
                  <a:pt x="2754344" y="-19255"/>
                  <a:pt x="2964364" y="27780"/>
                  <a:pt x="3324013" y="0"/>
                </a:cubicBezTo>
                <a:cubicBezTo>
                  <a:pt x="3360453" y="2387"/>
                  <a:pt x="3386298" y="22969"/>
                  <a:pt x="3383281" y="59268"/>
                </a:cubicBezTo>
                <a:cubicBezTo>
                  <a:pt x="3375330" y="167840"/>
                  <a:pt x="3382529" y="195293"/>
                  <a:pt x="3383281" y="296332"/>
                </a:cubicBezTo>
                <a:cubicBezTo>
                  <a:pt x="3388103" y="334635"/>
                  <a:pt x="3360747" y="350623"/>
                  <a:pt x="3324013" y="355600"/>
                </a:cubicBezTo>
                <a:cubicBezTo>
                  <a:pt x="3001791" y="358447"/>
                  <a:pt x="2933053" y="334481"/>
                  <a:pt x="2605769" y="355600"/>
                </a:cubicBezTo>
                <a:cubicBezTo>
                  <a:pt x="2278485" y="376719"/>
                  <a:pt x="2285718" y="372349"/>
                  <a:pt x="2018115" y="355600"/>
                </a:cubicBezTo>
                <a:cubicBezTo>
                  <a:pt x="1750512" y="338851"/>
                  <a:pt x="1615149" y="389325"/>
                  <a:pt x="1332519" y="355600"/>
                </a:cubicBezTo>
                <a:cubicBezTo>
                  <a:pt x="1049889" y="321875"/>
                  <a:pt x="961844" y="339083"/>
                  <a:pt x="679570" y="355600"/>
                </a:cubicBezTo>
                <a:cubicBezTo>
                  <a:pt x="397296" y="372117"/>
                  <a:pt x="263541" y="366793"/>
                  <a:pt x="59268" y="355600"/>
                </a:cubicBezTo>
                <a:cubicBezTo>
                  <a:pt x="23371" y="359493"/>
                  <a:pt x="-1528" y="332155"/>
                  <a:pt x="0" y="296332"/>
                </a:cubicBezTo>
                <a:cubicBezTo>
                  <a:pt x="4578" y="180065"/>
                  <a:pt x="-7433" y="116832"/>
                  <a:pt x="0" y="59268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EDDCD15-65B7-F44F-0FB9-1A87944D7074}"/>
              </a:ext>
            </a:extLst>
          </p:cNvPr>
          <p:cNvSpPr txBox="1"/>
          <p:nvPr/>
        </p:nvSpPr>
        <p:spPr>
          <a:xfrm>
            <a:off x="4128557" y="2442140"/>
            <a:ext cx="26618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Transform blade output using </a:t>
            </a:r>
            <a:r>
              <a:rPr lang="en-US" sz="1200" dirty="0" err="1">
                <a:solidFill>
                  <a:srgbClr val="FF0000"/>
                </a:solidFill>
              </a:rPr>
              <a:t>JMESPath</a:t>
            </a:r>
            <a:endParaRPr lang="en-US" sz="1200" dirty="0">
              <a:solidFill>
                <a:srgbClr val="FF0000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E99839D6-75B4-8C05-B7FA-1D3403C84BF5}"/>
              </a:ext>
            </a:extLst>
          </p:cNvPr>
          <p:cNvSpPr/>
          <p:nvPr/>
        </p:nvSpPr>
        <p:spPr>
          <a:xfrm>
            <a:off x="817878" y="2758439"/>
            <a:ext cx="3703322" cy="107928"/>
          </a:xfrm>
          <a:custGeom>
            <a:avLst/>
            <a:gdLst>
              <a:gd name="connsiteX0" fmla="*/ 0 w 3703322"/>
              <a:gd name="connsiteY0" fmla="*/ 17988 h 107928"/>
              <a:gd name="connsiteX1" fmla="*/ 17988 w 3703322"/>
              <a:gd name="connsiteY1" fmla="*/ 0 h 107928"/>
              <a:gd name="connsiteX2" fmla="*/ 555865 w 3703322"/>
              <a:gd name="connsiteY2" fmla="*/ 0 h 107928"/>
              <a:gd name="connsiteX3" fmla="*/ 1130416 w 3703322"/>
              <a:gd name="connsiteY3" fmla="*/ 0 h 107928"/>
              <a:gd name="connsiteX4" fmla="*/ 1668294 w 3703322"/>
              <a:gd name="connsiteY4" fmla="*/ 0 h 107928"/>
              <a:gd name="connsiteX5" fmla="*/ 2316191 w 3703322"/>
              <a:gd name="connsiteY5" fmla="*/ 0 h 107928"/>
              <a:gd name="connsiteX6" fmla="*/ 2964089 w 3703322"/>
              <a:gd name="connsiteY6" fmla="*/ 0 h 107928"/>
              <a:gd name="connsiteX7" fmla="*/ 3685334 w 3703322"/>
              <a:gd name="connsiteY7" fmla="*/ 0 h 107928"/>
              <a:gd name="connsiteX8" fmla="*/ 3703322 w 3703322"/>
              <a:gd name="connsiteY8" fmla="*/ 17988 h 107928"/>
              <a:gd name="connsiteX9" fmla="*/ 3703322 w 3703322"/>
              <a:gd name="connsiteY9" fmla="*/ 89940 h 107928"/>
              <a:gd name="connsiteX10" fmla="*/ 3685334 w 3703322"/>
              <a:gd name="connsiteY10" fmla="*/ 107928 h 107928"/>
              <a:gd name="connsiteX11" fmla="*/ 3037436 w 3703322"/>
              <a:gd name="connsiteY11" fmla="*/ 107928 h 107928"/>
              <a:gd name="connsiteX12" fmla="*/ 2389538 w 3703322"/>
              <a:gd name="connsiteY12" fmla="*/ 107928 h 107928"/>
              <a:gd name="connsiteX13" fmla="*/ 1778314 w 3703322"/>
              <a:gd name="connsiteY13" fmla="*/ 107928 h 107928"/>
              <a:gd name="connsiteX14" fmla="*/ 1167090 w 3703322"/>
              <a:gd name="connsiteY14" fmla="*/ 107928 h 107928"/>
              <a:gd name="connsiteX15" fmla="*/ 629212 w 3703322"/>
              <a:gd name="connsiteY15" fmla="*/ 107928 h 107928"/>
              <a:gd name="connsiteX16" fmla="*/ 17988 w 3703322"/>
              <a:gd name="connsiteY16" fmla="*/ 107928 h 107928"/>
              <a:gd name="connsiteX17" fmla="*/ 0 w 3703322"/>
              <a:gd name="connsiteY17" fmla="*/ 89940 h 107928"/>
              <a:gd name="connsiteX18" fmla="*/ 0 w 3703322"/>
              <a:gd name="connsiteY18" fmla="*/ 17988 h 107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3703322" h="107928" extrusionOk="0">
                <a:moveTo>
                  <a:pt x="0" y="17988"/>
                </a:moveTo>
                <a:cubicBezTo>
                  <a:pt x="443" y="8107"/>
                  <a:pt x="6969" y="-1460"/>
                  <a:pt x="17988" y="0"/>
                </a:cubicBezTo>
                <a:cubicBezTo>
                  <a:pt x="227714" y="10185"/>
                  <a:pt x="369384" y="-26850"/>
                  <a:pt x="555865" y="0"/>
                </a:cubicBezTo>
                <a:cubicBezTo>
                  <a:pt x="742346" y="26850"/>
                  <a:pt x="984194" y="14566"/>
                  <a:pt x="1130416" y="0"/>
                </a:cubicBezTo>
                <a:cubicBezTo>
                  <a:pt x="1276638" y="-14566"/>
                  <a:pt x="1555240" y="-23257"/>
                  <a:pt x="1668294" y="0"/>
                </a:cubicBezTo>
                <a:cubicBezTo>
                  <a:pt x="1781348" y="23257"/>
                  <a:pt x="2055281" y="4870"/>
                  <a:pt x="2316191" y="0"/>
                </a:cubicBezTo>
                <a:cubicBezTo>
                  <a:pt x="2577101" y="-4870"/>
                  <a:pt x="2792838" y="12646"/>
                  <a:pt x="2964089" y="0"/>
                </a:cubicBezTo>
                <a:cubicBezTo>
                  <a:pt x="3135340" y="-12646"/>
                  <a:pt x="3531434" y="29175"/>
                  <a:pt x="3685334" y="0"/>
                </a:cubicBezTo>
                <a:cubicBezTo>
                  <a:pt x="3696431" y="1090"/>
                  <a:pt x="3702776" y="7498"/>
                  <a:pt x="3703322" y="17988"/>
                </a:cubicBezTo>
                <a:cubicBezTo>
                  <a:pt x="3702437" y="44731"/>
                  <a:pt x="3701444" y="65628"/>
                  <a:pt x="3703322" y="89940"/>
                </a:cubicBezTo>
                <a:cubicBezTo>
                  <a:pt x="3703237" y="98850"/>
                  <a:pt x="3695268" y="107051"/>
                  <a:pt x="3685334" y="107928"/>
                </a:cubicBezTo>
                <a:cubicBezTo>
                  <a:pt x="3395043" y="101351"/>
                  <a:pt x="3343864" y="139586"/>
                  <a:pt x="3037436" y="107928"/>
                </a:cubicBezTo>
                <a:cubicBezTo>
                  <a:pt x="2731008" y="76270"/>
                  <a:pt x="2519326" y="100373"/>
                  <a:pt x="2389538" y="107928"/>
                </a:cubicBezTo>
                <a:cubicBezTo>
                  <a:pt x="2259750" y="115483"/>
                  <a:pt x="1926298" y="112319"/>
                  <a:pt x="1778314" y="107928"/>
                </a:cubicBezTo>
                <a:cubicBezTo>
                  <a:pt x="1630330" y="103537"/>
                  <a:pt x="1321886" y="126664"/>
                  <a:pt x="1167090" y="107928"/>
                </a:cubicBezTo>
                <a:cubicBezTo>
                  <a:pt x="1012294" y="89192"/>
                  <a:pt x="824870" y="107315"/>
                  <a:pt x="629212" y="107928"/>
                </a:cubicBezTo>
                <a:cubicBezTo>
                  <a:pt x="433554" y="108541"/>
                  <a:pt x="298938" y="130840"/>
                  <a:pt x="17988" y="107928"/>
                </a:cubicBezTo>
                <a:cubicBezTo>
                  <a:pt x="10222" y="107468"/>
                  <a:pt x="772" y="100423"/>
                  <a:pt x="0" y="89940"/>
                </a:cubicBezTo>
                <a:cubicBezTo>
                  <a:pt x="3015" y="61736"/>
                  <a:pt x="444" y="50616"/>
                  <a:pt x="0" y="17988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6E501D0-74BF-C6E4-7DFF-C79570BE3990}"/>
              </a:ext>
            </a:extLst>
          </p:cNvPr>
          <p:cNvSpPr txBox="1"/>
          <p:nvPr/>
        </p:nvSpPr>
        <p:spPr>
          <a:xfrm>
            <a:off x="4443517" y="2673903"/>
            <a:ext cx="174759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When should blade open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CCF59204-0A60-0912-9548-A1C6E1518D46}"/>
              </a:ext>
            </a:extLst>
          </p:cNvPr>
          <p:cNvSpPr/>
          <p:nvPr/>
        </p:nvSpPr>
        <p:spPr>
          <a:xfrm>
            <a:off x="1021078" y="2971182"/>
            <a:ext cx="1579882" cy="255345"/>
          </a:xfrm>
          <a:custGeom>
            <a:avLst/>
            <a:gdLst>
              <a:gd name="connsiteX0" fmla="*/ 0 w 1579882"/>
              <a:gd name="connsiteY0" fmla="*/ 42558 h 255345"/>
              <a:gd name="connsiteX1" fmla="*/ 42558 w 1579882"/>
              <a:gd name="connsiteY1" fmla="*/ 0 h 255345"/>
              <a:gd name="connsiteX2" fmla="*/ 510918 w 1579882"/>
              <a:gd name="connsiteY2" fmla="*/ 0 h 255345"/>
              <a:gd name="connsiteX3" fmla="*/ 994226 w 1579882"/>
              <a:gd name="connsiteY3" fmla="*/ 0 h 255345"/>
              <a:gd name="connsiteX4" fmla="*/ 1537324 w 1579882"/>
              <a:gd name="connsiteY4" fmla="*/ 0 h 255345"/>
              <a:gd name="connsiteX5" fmla="*/ 1579882 w 1579882"/>
              <a:gd name="connsiteY5" fmla="*/ 42558 h 255345"/>
              <a:gd name="connsiteX6" fmla="*/ 1579882 w 1579882"/>
              <a:gd name="connsiteY6" fmla="*/ 212787 h 255345"/>
              <a:gd name="connsiteX7" fmla="*/ 1537324 w 1579882"/>
              <a:gd name="connsiteY7" fmla="*/ 255345 h 255345"/>
              <a:gd name="connsiteX8" fmla="*/ 1024121 w 1579882"/>
              <a:gd name="connsiteY8" fmla="*/ 255345 h 255345"/>
              <a:gd name="connsiteX9" fmla="*/ 540813 w 1579882"/>
              <a:gd name="connsiteY9" fmla="*/ 255345 h 255345"/>
              <a:gd name="connsiteX10" fmla="*/ 42558 w 1579882"/>
              <a:gd name="connsiteY10" fmla="*/ 255345 h 255345"/>
              <a:gd name="connsiteX11" fmla="*/ 0 w 1579882"/>
              <a:gd name="connsiteY11" fmla="*/ 212787 h 255345"/>
              <a:gd name="connsiteX12" fmla="*/ 0 w 1579882"/>
              <a:gd name="connsiteY12" fmla="*/ 42558 h 255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579882" h="255345" extrusionOk="0">
                <a:moveTo>
                  <a:pt x="0" y="42558"/>
                </a:moveTo>
                <a:cubicBezTo>
                  <a:pt x="3315" y="19448"/>
                  <a:pt x="18061" y="-1335"/>
                  <a:pt x="42558" y="0"/>
                </a:cubicBezTo>
                <a:cubicBezTo>
                  <a:pt x="145141" y="-18224"/>
                  <a:pt x="388590" y="9770"/>
                  <a:pt x="510918" y="0"/>
                </a:cubicBezTo>
                <a:cubicBezTo>
                  <a:pt x="633246" y="-9770"/>
                  <a:pt x="849998" y="-3768"/>
                  <a:pt x="994226" y="0"/>
                </a:cubicBezTo>
                <a:cubicBezTo>
                  <a:pt x="1138454" y="3768"/>
                  <a:pt x="1420354" y="-16661"/>
                  <a:pt x="1537324" y="0"/>
                </a:cubicBezTo>
                <a:cubicBezTo>
                  <a:pt x="1561737" y="2766"/>
                  <a:pt x="1580028" y="23390"/>
                  <a:pt x="1579882" y="42558"/>
                </a:cubicBezTo>
                <a:cubicBezTo>
                  <a:pt x="1578061" y="108659"/>
                  <a:pt x="1578274" y="152374"/>
                  <a:pt x="1579882" y="212787"/>
                </a:cubicBezTo>
                <a:cubicBezTo>
                  <a:pt x="1580693" y="237052"/>
                  <a:pt x="1558447" y="252918"/>
                  <a:pt x="1537324" y="255345"/>
                </a:cubicBezTo>
                <a:cubicBezTo>
                  <a:pt x="1324077" y="250598"/>
                  <a:pt x="1172130" y="231606"/>
                  <a:pt x="1024121" y="255345"/>
                </a:cubicBezTo>
                <a:cubicBezTo>
                  <a:pt x="876112" y="279084"/>
                  <a:pt x="644801" y="256630"/>
                  <a:pt x="540813" y="255345"/>
                </a:cubicBezTo>
                <a:cubicBezTo>
                  <a:pt x="436825" y="254060"/>
                  <a:pt x="169739" y="262941"/>
                  <a:pt x="42558" y="255345"/>
                </a:cubicBezTo>
                <a:cubicBezTo>
                  <a:pt x="20002" y="259974"/>
                  <a:pt x="2929" y="239735"/>
                  <a:pt x="0" y="212787"/>
                </a:cubicBezTo>
                <a:cubicBezTo>
                  <a:pt x="426" y="143533"/>
                  <a:pt x="6523" y="109860"/>
                  <a:pt x="0" y="42558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D0516A6-D03A-0C00-9AC5-0957BF76296D}"/>
              </a:ext>
            </a:extLst>
          </p:cNvPr>
          <p:cNvSpPr txBox="1"/>
          <p:nvPr/>
        </p:nvSpPr>
        <p:spPr>
          <a:xfrm>
            <a:off x="2509519" y="2971182"/>
            <a:ext cx="96372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Which blade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7D266E28-09B5-2E0F-7809-EE400E313513}"/>
              </a:ext>
            </a:extLst>
          </p:cNvPr>
          <p:cNvSpPr/>
          <p:nvPr/>
        </p:nvSpPr>
        <p:spPr>
          <a:xfrm>
            <a:off x="1173478" y="3313034"/>
            <a:ext cx="3027682" cy="1058786"/>
          </a:xfrm>
          <a:custGeom>
            <a:avLst/>
            <a:gdLst>
              <a:gd name="connsiteX0" fmla="*/ 0 w 3027682"/>
              <a:gd name="connsiteY0" fmla="*/ 176468 h 1058786"/>
              <a:gd name="connsiteX1" fmla="*/ 176468 w 3027682"/>
              <a:gd name="connsiteY1" fmla="*/ 0 h 1058786"/>
              <a:gd name="connsiteX2" fmla="*/ 791660 w 3027682"/>
              <a:gd name="connsiteY2" fmla="*/ 0 h 1058786"/>
              <a:gd name="connsiteX3" fmla="*/ 1433599 w 3027682"/>
              <a:gd name="connsiteY3" fmla="*/ 0 h 1058786"/>
              <a:gd name="connsiteX4" fmla="*/ 2048790 w 3027682"/>
              <a:gd name="connsiteY4" fmla="*/ 0 h 1058786"/>
              <a:gd name="connsiteX5" fmla="*/ 2851214 w 3027682"/>
              <a:gd name="connsiteY5" fmla="*/ 0 h 1058786"/>
              <a:gd name="connsiteX6" fmla="*/ 3027682 w 3027682"/>
              <a:gd name="connsiteY6" fmla="*/ 176468 h 1058786"/>
              <a:gd name="connsiteX7" fmla="*/ 3027682 w 3027682"/>
              <a:gd name="connsiteY7" fmla="*/ 515276 h 1058786"/>
              <a:gd name="connsiteX8" fmla="*/ 3027682 w 3027682"/>
              <a:gd name="connsiteY8" fmla="*/ 882318 h 1058786"/>
              <a:gd name="connsiteX9" fmla="*/ 2851214 w 3027682"/>
              <a:gd name="connsiteY9" fmla="*/ 1058786 h 1058786"/>
              <a:gd name="connsiteX10" fmla="*/ 2129033 w 3027682"/>
              <a:gd name="connsiteY10" fmla="*/ 1058786 h 1058786"/>
              <a:gd name="connsiteX11" fmla="*/ 1513841 w 3027682"/>
              <a:gd name="connsiteY11" fmla="*/ 1058786 h 1058786"/>
              <a:gd name="connsiteX12" fmla="*/ 818407 w 3027682"/>
              <a:gd name="connsiteY12" fmla="*/ 1058786 h 1058786"/>
              <a:gd name="connsiteX13" fmla="*/ 176468 w 3027682"/>
              <a:gd name="connsiteY13" fmla="*/ 1058786 h 1058786"/>
              <a:gd name="connsiteX14" fmla="*/ 0 w 3027682"/>
              <a:gd name="connsiteY14" fmla="*/ 882318 h 1058786"/>
              <a:gd name="connsiteX15" fmla="*/ 0 w 3027682"/>
              <a:gd name="connsiteY15" fmla="*/ 536452 h 1058786"/>
              <a:gd name="connsiteX16" fmla="*/ 0 w 3027682"/>
              <a:gd name="connsiteY16" fmla="*/ 176468 h 1058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027682" h="1058786" extrusionOk="0">
                <a:moveTo>
                  <a:pt x="0" y="176468"/>
                </a:moveTo>
                <a:cubicBezTo>
                  <a:pt x="11040" y="80318"/>
                  <a:pt x="74927" y="-5489"/>
                  <a:pt x="176468" y="0"/>
                </a:cubicBezTo>
                <a:cubicBezTo>
                  <a:pt x="329983" y="-802"/>
                  <a:pt x="638182" y="1296"/>
                  <a:pt x="791660" y="0"/>
                </a:cubicBezTo>
                <a:cubicBezTo>
                  <a:pt x="945138" y="-1296"/>
                  <a:pt x="1120210" y="6847"/>
                  <a:pt x="1433599" y="0"/>
                </a:cubicBezTo>
                <a:cubicBezTo>
                  <a:pt x="1746988" y="-6847"/>
                  <a:pt x="1744827" y="-29694"/>
                  <a:pt x="2048790" y="0"/>
                </a:cubicBezTo>
                <a:cubicBezTo>
                  <a:pt x="2352753" y="29694"/>
                  <a:pt x="2569169" y="-33261"/>
                  <a:pt x="2851214" y="0"/>
                </a:cubicBezTo>
                <a:cubicBezTo>
                  <a:pt x="2954412" y="1311"/>
                  <a:pt x="3032312" y="73447"/>
                  <a:pt x="3027682" y="176468"/>
                </a:cubicBezTo>
                <a:cubicBezTo>
                  <a:pt x="3026172" y="278428"/>
                  <a:pt x="3026045" y="429291"/>
                  <a:pt x="3027682" y="515276"/>
                </a:cubicBezTo>
                <a:cubicBezTo>
                  <a:pt x="3029319" y="601261"/>
                  <a:pt x="3021137" y="748991"/>
                  <a:pt x="3027682" y="882318"/>
                </a:cubicBezTo>
                <a:cubicBezTo>
                  <a:pt x="3033013" y="985938"/>
                  <a:pt x="2960338" y="1044276"/>
                  <a:pt x="2851214" y="1058786"/>
                </a:cubicBezTo>
                <a:cubicBezTo>
                  <a:pt x="2657053" y="1058100"/>
                  <a:pt x="2377751" y="1068401"/>
                  <a:pt x="2129033" y="1058786"/>
                </a:cubicBezTo>
                <a:cubicBezTo>
                  <a:pt x="1880315" y="1049171"/>
                  <a:pt x="1683278" y="1055514"/>
                  <a:pt x="1513841" y="1058786"/>
                </a:cubicBezTo>
                <a:cubicBezTo>
                  <a:pt x="1344404" y="1062058"/>
                  <a:pt x="1035121" y="1031249"/>
                  <a:pt x="818407" y="1058786"/>
                </a:cubicBezTo>
                <a:cubicBezTo>
                  <a:pt x="601693" y="1086323"/>
                  <a:pt x="388027" y="1082402"/>
                  <a:pt x="176468" y="1058786"/>
                </a:cubicBezTo>
                <a:cubicBezTo>
                  <a:pt x="65282" y="1052924"/>
                  <a:pt x="14755" y="970684"/>
                  <a:pt x="0" y="882318"/>
                </a:cubicBezTo>
                <a:cubicBezTo>
                  <a:pt x="-12611" y="713268"/>
                  <a:pt x="1843" y="623041"/>
                  <a:pt x="0" y="536452"/>
                </a:cubicBezTo>
                <a:cubicBezTo>
                  <a:pt x="-1843" y="449863"/>
                  <a:pt x="17917" y="253729"/>
                  <a:pt x="0" y="176468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B7DE2D1-DD3D-3655-C235-A10D3117D8F2}"/>
              </a:ext>
            </a:extLst>
          </p:cNvPr>
          <p:cNvSpPr txBox="1"/>
          <p:nvPr/>
        </p:nvSpPr>
        <p:spPr>
          <a:xfrm>
            <a:off x="4128557" y="3648434"/>
            <a:ext cx="105528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Blade settings</a:t>
            </a: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01EB94AF-D1E7-8C1B-04E0-CF6C07473B43}"/>
              </a:ext>
            </a:extLst>
          </p:cNvPr>
          <p:cNvSpPr/>
          <p:nvPr/>
        </p:nvSpPr>
        <p:spPr>
          <a:xfrm>
            <a:off x="817878" y="5711827"/>
            <a:ext cx="5112111" cy="140515"/>
          </a:xfrm>
          <a:custGeom>
            <a:avLst/>
            <a:gdLst>
              <a:gd name="connsiteX0" fmla="*/ 0 w 5112111"/>
              <a:gd name="connsiteY0" fmla="*/ 23420 h 140515"/>
              <a:gd name="connsiteX1" fmla="*/ 23420 w 5112111"/>
              <a:gd name="connsiteY1" fmla="*/ 0 h 140515"/>
              <a:gd name="connsiteX2" fmla="*/ 555273 w 5112111"/>
              <a:gd name="connsiteY2" fmla="*/ 0 h 140515"/>
              <a:gd name="connsiteX3" fmla="*/ 1137780 w 5112111"/>
              <a:gd name="connsiteY3" fmla="*/ 0 h 140515"/>
              <a:gd name="connsiteX4" fmla="*/ 1669633 w 5112111"/>
              <a:gd name="connsiteY4" fmla="*/ 0 h 140515"/>
              <a:gd name="connsiteX5" fmla="*/ 2353445 w 5112111"/>
              <a:gd name="connsiteY5" fmla="*/ 0 h 140515"/>
              <a:gd name="connsiteX6" fmla="*/ 3037256 w 5112111"/>
              <a:gd name="connsiteY6" fmla="*/ 0 h 140515"/>
              <a:gd name="connsiteX7" fmla="*/ 3771721 w 5112111"/>
              <a:gd name="connsiteY7" fmla="*/ 0 h 140515"/>
              <a:gd name="connsiteX8" fmla="*/ 4354227 w 5112111"/>
              <a:gd name="connsiteY8" fmla="*/ 0 h 140515"/>
              <a:gd name="connsiteX9" fmla="*/ 5088691 w 5112111"/>
              <a:gd name="connsiteY9" fmla="*/ 0 h 140515"/>
              <a:gd name="connsiteX10" fmla="*/ 5112111 w 5112111"/>
              <a:gd name="connsiteY10" fmla="*/ 23420 h 140515"/>
              <a:gd name="connsiteX11" fmla="*/ 5112111 w 5112111"/>
              <a:gd name="connsiteY11" fmla="*/ 117095 h 140515"/>
              <a:gd name="connsiteX12" fmla="*/ 5088691 w 5112111"/>
              <a:gd name="connsiteY12" fmla="*/ 140515 h 140515"/>
              <a:gd name="connsiteX13" fmla="*/ 4354227 w 5112111"/>
              <a:gd name="connsiteY13" fmla="*/ 140515 h 140515"/>
              <a:gd name="connsiteX14" fmla="*/ 3721068 w 5112111"/>
              <a:gd name="connsiteY14" fmla="*/ 140515 h 140515"/>
              <a:gd name="connsiteX15" fmla="*/ 3189214 w 5112111"/>
              <a:gd name="connsiteY15" fmla="*/ 140515 h 140515"/>
              <a:gd name="connsiteX16" fmla="*/ 2454750 w 5112111"/>
              <a:gd name="connsiteY16" fmla="*/ 140515 h 140515"/>
              <a:gd name="connsiteX17" fmla="*/ 1720286 w 5112111"/>
              <a:gd name="connsiteY17" fmla="*/ 140515 h 140515"/>
              <a:gd name="connsiteX18" fmla="*/ 1087127 w 5112111"/>
              <a:gd name="connsiteY18" fmla="*/ 140515 h 140515"/>
              <a:gd name="connsiteX19" fmla="*/ 23420 w 5112111"/>
              <a:gd name="connsiteY19" fmla="*/ 140515 h 140515"/>
              <a:gd name="connsiteX20" fmla="*/ 0 w 5112111"/>
              <a:gd name="connsiteY20" fmla="*/ 117095 h 140515"/>
              <a:gd name="connsiteX21" fmla="*/ 0 w 5112111"/>
              <a:gd name="connsiteY21" fmla="*/ 23420 h 140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5112111" h="140515" extrusionOk="0">
                <a:moveTo>
                  <a:pt x="0" y="23420"/>
                </a:moveTo>
                <a:cubicBezTo>
                  <a:pt x="1700" y="10687"/>
                  <a:pt x="9106" y="-1855"/>
                  <a:pt x="23420" y="0"/>
                </a:cubicBezTo>
                <a:cubicBezTo>
                  <a:pt x="262986" y="-19604"/>
                  <a:pt x="403359" y="14946"/>
                  <a:pt x="555273" y="0"/>
                </a:cubicBezTo>
                <a:cubicBezTo>
                  <a:pt x="707187" y="-14946"/>
                  <a:pt x="977072" y="-11374"/>
                  <a:pt x="1137780" y="0"/>
                </a:cubicBezTo>
                <a:cubicBezTo>
                  <a:pt x="1298488" y="11374"/>
                  <a:pt x="1431292" y="19894"/>
                  <a:pt x="1669633" y="0"/>
                </a:cubicBezTo>
                <a:cubicBezTo>
                  <a:pt x="1907974" y="-19894"/>
                  <a:pt x="2083801" y="-1058"/>
                  <a:pt x="2353445" y="0"/>
                </a:cubicBezTo>
                <a:cubicBezTo>
                  <a:pt x="2623089" y="1058"/>
                  <a:pt x="2749884" y="-34079"/>
                  <a:pt x="3037256" y="0"/>
                </a:cubicBezTo>
                <a:cubicBezTo>
                  <a:pt x="3324628" y="34079"/>
                  <a:pt x="3555737" y="1193"/>
                  <a:pt x="3771721" y="0"/>
                </a:cubicBezTo>
                <a:cubicBezTo>
                  <a:pt x="3987705" y="-1193"/>
                  <a:pt x="4179710" y="-3985"/>
                  <a:pt x="4354227" y="0"/>
                </a:cubicBezTo>
                <a:cubicBezTo>
                  <a:pt x="4528744" y="3985"/>
                  <a:pt x="4896985" y="10510"/>
                  <a:pt x="5088691" y="0"/>
                </a:cubicBezTo>
                <a:cubicBezTo>
                  <a:pt x="5103452" y="2109"/>
                  <a:pt x="5113065" y="9298"/>
                  <a:pt x="5112111" y="23420"/>
                </a:cubicBezTo>
                <a:cubicBezTo>
                  <a:pt x="5110736" y="42683"/>
                  <a:pt x="5113359" y="79539"/>
                  <a:pt x="5112111" y="117095"/>
                </a:cubicBezTo>
                <a:cubicBezTo>
                  <a:pt x="5112582" y="132331"/>
                  <a:pt x="5103057" y="142198"/>
                  <a:pt x="5088691" y="140515"/>
                </a:cubicBezTo>
                <a:cubicBezTo>
                  <a:pt x="4860108" y="129160"/>
                  <a:pt x="4527478" y="159165"/>
                  <a:pt x="4354227" y="140515"/>
                </a:cubicBezTo>
                <a:cubicBezTo>
                  <a:pt x="4180976" y="121865"/>
                  <a:pt x="3945143" y="146470"/>
                  <a:pt x="3721068" y="140515"/>
                </a:cubicBezTo>
                <a:cubicBezTo>
                  <a:pt x="3496993" y="134560"/>
                  <a:pt x="3422162" y="139662"/>
                  <a:pt x="3189214" y="140515"/>
                </a:cubicBezTo>
                <a:cubicBezTo>
                  <a:pt x="2956266" y="141368"/>
                  <a:pt x="2773421" y="111188"/>
                  <a:pt x="2454750" y="140515"/>
                </a:cubicBezTo>
                <a:cubicBezTo>
                  <a:pt x="2136079" y="169842"/>
                  <a:pt x="1896444" y="155818"/>
                  <a:pt x="1720286" y="140515"/>
                </a:cubicBezTo>
                <a:cubicBezTo>
                  <a:pt x="1544128" y="125212"/>
                  <a:pt x="1239119" y="140306"/>
                  <a:pt x="1087127" y="140515"/>
                </a:cubicBezTo>
                <a:cubicBezTo>
                  <a:pt x="935135" y="140724"/>
                  <a:pt x="456454" y="133046"/>
                  <a:pt x="23420" y="140515"/>
                </a:cubicBezTo>
                <a:cubicBezTo>
                  <a:pt x="10722" y="141039"/>
                  <a:pt x="-1558" y="128187"/>
                  <a:pt x="0" y="117095"/>
                </a:cubicBezTo>
                <a:cubicBezTo>
                  <a:pt x="3132" y="79002"/>
                  <a:pt x="-3246" y="65885"/>
                  <a:pt x="0" y="23420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BCD99584-665C-6306-9BE2-85EC54706C1E}"/>
              </a:ext>
            </a:extLst>
          </p:cNvPr>
          <p:cNvSpPr/>
          <p:nvPr/>
        </p:nvSpPr>
        <p:spPr>
          <a:xfrm>
            <a:off x="817878" y="5265440"/>
            <a:ext cx="3625639" cy="374789"/>
          </a:xfrm>
          <a:custGeom>
            <a:avLst/>
            <a:gdLst>
              <a:gd name="connsiteX0" fmla="*/ 0 w 3625639"/>
              <a:gd name="connsiteY0" fmla="*/ 62466 h 374789"/>
              <a:gd name="connsiteX1" fmla="*/ 62466 w 3625639"/>
              <a:gd name="connsiteY1" fmla="*/ 0 h 374789"/>
              <a:gd name="connsiteX2" fmla="*/ 575903 w 3625639"/>
              <a:gd name="connsiteY2" fmla="*/ 0 h 374789"/>
              <a:gd name="connsiteX3" fmla="*/ 1124347 w 3625639"/>
              <a:gd name="connsiteY3" fmla="*/ 0 h 374789"/>
              <a:gd name="connsiteX4" fmla="*/ 1637784 w 3625639"/>
              <a:gd name="connsiteY4" fmla="*/ 0 h 374789"/>
              <a:gd name="connsiteX5" fmla="*/ 2256242 w 3625639"/>
              <a:gd name="connsiteY5" fmla="*/ 0 h 374789"/>
              <a:gd name="connsiteX6" fmla="*/ 2874701 w 3625639"/>
              <a:gd name="connsiteY6" fmla="*/ 0 h 374789"/>
              <a:gd name="connsiteX7" fmla="*/ 3563173 w 3625639"/>
              <a:gd name="connsiteY7" fmla="*/ 0 h 374789"/>
              <a:gd name="connsiteX8" fmla="*/ 3625639 w 3625639"/>
              <a:gd name="connsiteY8" fmla="*/ 62466 h 374789"/>
              <a:gd name="connsiteX9" fmla="*/ 3625639 w 3625639"/>
              <a:gd name="connsiteY9" fmla="*/ 312323 h 374789"/>
              <a:gd name="connsiteX10" fmla="*/ 3563173 w 3625639"/>
              <a:gd name="connsiteY10" fmla="*/ 374789 h 374789"/>
              <a:gd name="connsiteX11" fmla="*/ 2944715 w 3625639"/>
              <a:gd name="connsiteY11" fmla="*/ 374789 h 374789"/>
              <a:gd name="connsiteX12" fmla="*/ 2326257 w 3625639"/>
              <a:gd name="connsiteY12" fmla="*/ 374789 h 374789"/>
              <a:gd name="connsiteX13" fmla="*/ 1742805 w 3625639"/>
              <a:gd name="connsiteY13" fmla="*/ 374789 h 374789"/>
              <a:gd name="connsiteX14" fmla="*/ 1159354 w 3625639"/>
              <a:gd name="connsiteY14" fmla="*/ 374789 h 374789"/>
              <a:gd name="connsiteX15" fmla="*/ 645917 w 3625639"/>
              <a:gd name="connsiteY15" fmla="*/ 374789 h 374789"/>
              <a:gd name="connsiteX16" fmla="*/ 62466 w 3625639"/>
              <a:gd name="connsiteY16" fmla="*/ 374789 h 374789"/>
              <a:gd name="connsiteX17" fmla="*/ 0 w 3625639"/>
              <a:gd name="connsiteY17" fmla="*/ 312323 h 374789"/>
              <a:gd name="connsiteX18" fmla="*/ 0 w 3625639"/>
              <a:gd name="connsiteY18" fmla="*/ 62466 h 374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3625639" h="374789" extrusionOk="0">
                <a:moveTo>
                  <a:pt x="0" y="62466"/>
                </a:moveTo>
                <a:cubicBezTo>
                  <a:pt x="6656" y="28757"/>
                  <a:pt x="23667" y="-5786"/>
                  <a:pt x="62466" y="0"/>
                </a:cubicBezTo>
                <a:cubicBezTo>
                  <a:pt x="265500" y="8747"/>
                  <a:pt x="432231" y="5038"/>
                  <a:pt x="575903" y="0"/>
                </a:cubicBezTo>
                <a:cubicBezTo>
                  <a:pt x="719575" y="-5038"/>
                  <a:pt x="996486" y="20399"/>
                  <a:pt x="1124347" y="0"/>
                </a:cubicBezTo>
                <a:cubicBezTo>
                  <a:pt x="1252208" y="-20399"/>
                  <a:pt x="1389214" y="-14097"/>
                  <a:pt x="1637784" y="0"/>
                </a:cubicBezTo>
                <a:cubicBezTo>
                  <a:pt x="1886354" y="14097"/>
                  <a:pt x="2132378" y="8823"/>
                  <a:pt x="2256242" y="0"/>
                </a:cubicBezTo>
                <a:cubicBezTo>
                  <a:pt x="2380106" y="-8823"/>
                  <a:pt x="2650428" y="-18553"/>
                  <a:pt x="2874701" y="0"/>
                </a:cubicBezTo>
                <a:cubicBezTo>
                  <a:pt x="3098974" y="18553"/>
                  <a:pt x="3376950" y="24922"/>
                  <a:pt x="3563173" y="0"/>
                </a:cubicBezTo>
                <a:cubicBezTo>
                  <a:pt x="3603697" y="5650"/>
                  <a:pt x="3620568" y="22798"/>
                  <a:pt x="3625639" y="62466"/>
                </a:cubicBezTo>
                <a:cubicBezTo>
                  <a:pt x="3613559" y="122814"/>
                  <a:pt x="3632902" y="190704"/>
                  <a:pt x="3625639" y="312323"/>
                </a:cubicBezTo>
                <a:cubicBezTo>
                  <a:pt x="3625011" y="339283"/>
                  <a:pt x="3597672" y="372141"/>
                  <a:pt x="3563173" y="374789"/>
                </a:cubicBezTo>
                <a:cubicBezTo>
                  <a:pt x="3383356" y="355191"/>
                  <a:pt x="3233898" y="396255"/>
                  <a:pt x="2944715" y="374789"/>
                </a:cubicBezTo>
                <a:cubicBezTo>
                  <a:pt x="2655532" y="353323"/>
                  <a:pt x="2628589" y="364301"/>
                  <a:pt x="2326257" y="374789"/>
                </a:cubicBezTo>
                <a:cubicBezTo>
                  <a:pt x="2023925" y="385277"/>
                  <a:pt x="1914542" y="374838"/>
                  <a:pt x="1742805" y="374789"/>
                </a:cubicBezTo>
                <a:cubicBezTo>
                  <a:pt x="1571068" y="374740"/>
                  <a:pt x="1416655" y="403512"/>
                  <a:pt x="1159354" y="374789"/>
                </a:cubicBezTo>
                <a:cubicBezTo>
                  <a:pt x="902053" y="346066"/>
                  <a:pt x="898996" y="387909"/>
                  <a:pt x="645917" y="374789"/>
                </a:cubicBezTo>
                <a:cubicBezTo>
                  <a:pt x="392838" y="361669"/>
                  <a:pt x="306627" y="361407"/>
                  <a:pt x="62466" y="374789"/>
                </a:cubicBezTo>
                <a:cubicBezTo>
                  <a:pt x="32461" y="373835"/>
                  <a:pt x="6715" y="351597"/>
                  <a:pt x="0" y="312323"/>
                </a:cubicBezTo>
                <a:cubicBezTo>
                  <a:pt x="-6816" y="223798"/>
                  <a:pt x="10741" y="164436"/>
                  <a:pt x="0" y="62466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D6337B5-CF44-50F3-2B12-7CE99513BFD4}"/>
              </a:ext>
            </a:extLst>
          </p:cNvPr>
          <p:cNvSpPr txBox="1"/>
          <p:nvPr/>
        </p:nvSpPr>
        <p:spPr>
          <a:xfrm>
            <a:off x="4370287" y="5224173"/>
            <a:ext cx="18050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UI element value from transformed blade output</a:t>
            </a:r>
          </a:p>
        </p:txBody>
      </p:sp>
      <p:sp>
        <p:nvSpPr>
          <p:cNvPr id="40" name="Content Placeholder 2">
            <a:extLst>
              <a:ext uri="{FF2B5EF4-FFF2-40B4-BE49-F238E27FC236}">
                <a16:creationId xmlns:a16="http://schemas.microsoft.com/office/drawing/2014/main" id="{884AE367-10C5-B7C7-6A5A-76D4B9F42E65}"/>
              </a:ext>
            </a:extLst>
          </p:cNvPr>
          <p:cNvSpPr txBox="1">
            <a:spLocks/>
          </p:cNvSpPr>
          <p:nvPr/>
        </p:nvSpPr>
        <p:spPr>
          <a:xfrm>
            <a:off x="642803" y="1347906"/>
            <a:ext cx="9725984" cy="6945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Inspecting the schema, we can find “</a:t>
            </a:r>
            <a:r>
              <a:rPr lang="en-US" sz="2000" dirty="0" err="1"/>
              <a:t>Microsoft.Solutions.GraphApiControl</a:t>
            </a:r>
            <a:r>
              <a:rPr lang="en-US" sz="2000" dirty="0"/>
              <a:t>”, or </a:t>
            </a:r>
            <a:r>
              <a:rPr lang="en-US" sz="2000" b="1" dirty="0">
                <a:solidFill>
                  <a:srgbClr val="FF0000"/>
                </a:solidFill>
              </a:rPr>
              <a:t>even cooler “</a:t>
            </a:r>
            <a:r>
              <a:rPr lang="en-US" sz="2000" b="1" dirty="0" err="1">
                <a:solidFill>
                  <a:srgbClr val="FF0000"/>
                </a:solidFill>
              </a:rPr>
              <a:t>Microsoft.Solutions.BladeInvokeControl</a:t>
            </a:r>
            <a:r>
              <a:rPr lang="en-US" sz="2000" b="1" dirty="0">
                <a:solidFill>
                  <a:srgbClr val="FF0000"/>
                </a:solidFill>
              </a:rPr>
              <a:t>”</a:t>
            </a: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E7BAFF43-FFCB-6767-040F-1DCD38DB220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03336" y="5320084"/>
            <a:ext cx="2716814" cy="572886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45061045-B61B-CC07-A442-D70FD3288A64}"/>
              </a:ext>
            </a:extLst>
          </p:cNvPr>
          <p:cNvSpPr txBox="1"/>
          <p:nvPr/>
        </p:nvSpPr>
        <p:spPr>
          <a:xfrm>
            <a:off x="5865917" y="5649662"/>
            <a:ext cx="12287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UI element color</a:t>
            </a:r>
          </a:p>
        </p:txBody>
      </p:sp>
    </p:spTree>
    <p:extLst>
      <p:ext uri="{BB962C8B-B14F-4D97-AF65-F5344CB8AC3E}">
        <p14:creationId xmlns:p14="http://schemas.microsoft.com/office/powerpoint/2010/main" val="15416076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Template Specs UI </a:t>
            </a:r>
            <a:r>
              <a:rPr lang="en-US" b="1" dirty="0"/>
              <a:t>Blad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141287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Blades are also described in the </a:t>
            </a: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  <a:hlinkClick r:id="rId2"/>
              </a:rPr>
              <a:t>GitHub azure/</a:t>
            </a:r>
            <a:r>
              <a:rPr lang="en-US" sz="2400" dirty="0" err="1">
                <a:latin typeface="Segoe UI" panose="020B0502040204020203" pitchFamily="34" charset="0"/>
                <a:cs typeface="Segoe UI" panose="020B0502040204020203" pitchFamily="34" charset="0"/>
                <a:hlinkClick r:id="rId2"/>
              </a:rPr>
              <a:t>portaldocs</a:t>
            </a: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  <a:hlinkClick r:id="rId2"/>
              </a:rPr>
              <a:t> repo</a:t>
            </a:r>
            <a:endParaRPr lang="en-US" sz="2400" dirty="0">
              <a:latin typeface="Segoe UI" panose="020B0502040204020203" pitchFamily="34" charset="0"/>
              <a:cs typeface="Segoe UI" panose="020B0502040204020203" pitchFamily="34" charset="0"/>
              <a:hlinkClick r:id="rId3"/>
            </a:endParaRPr>
          </a:p>
          <a:p>
            <a:pPr marL="0" indent="0">
              <a:buNone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  <a:hlinkClick r:id="rId3"/>
              </a:rPr>
              <a:t>How to use Azure Portal blades in the Template Specs UI (gatevnotes.com)</a:t>
            </a:r>
            <a:endParaRPr lang="en-US" sz="2400" dirty="0">
              <a:latin typeface="Segoe UI" panose="020B0502040204020203" pitchFamily="34" charset="0"/>
              <a:cs typeface="Segoe UI" panose="020B0502040204020203" pitchFamily="34" charset="0"/>
              <a:hlinkClick r:id="rId4"/>
            </a:endParaRPr>
          </a:p>
          <a:p>
            <a:pPr marL="0" indent="0">
              <a:buNone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  <a:hlinkClick r:id="rId4"/>
              </a:rPr>
              <a:t>How to uncover the names and parameters of blades in Azure Portal (gatevnotes.com)</a:t>
            </a:r>
            <a:endParaRPr lang="en-US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16890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FB93D0A-2870-FA1A-36A1-643F603E0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2</a:t>
            </a:fld>
            <a:endParaRPr lang="en-US"/>
          </a:p>
        </p:txBody>
      </p:sp>
      <p:pic>
        <p:nvPicPr>
          <p:cNvPr id="4" name="Picture 3" descr="A poster with a group of people&#10;&#10;Description automatically generated">
            <a:extLst>
              <a:ext uri="{FF2B5EF4-FFF2-40B4-BE49-F238E27FC236}">
                <a16:creationId xmlns:a16="http://schemas.microsoft.com/office/drawing/2014/main" id="{A0089F55-0235-BDE5-F816-60A24FB322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8003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Template Specs </a:t>
            </a:r>
            <a:r>
              <a:rPr lang="en-US" b="1" dirty="0"/>
              <a:t>deployment op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2" y="163048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Now that we know what Azure Template Specs are, lets check how can they be used.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0</a:t>
            </a:fld>
            <a:endParaRPr lang="en-US" dirty="0"/>
          </a:p>
        </p:txBody>
      </p:sp>
      <p:pic>
        <p:nvPicPr>
          <p:cNvPr id="5" name="Picture 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B3C69982-4AAB-793E-BBFF-8B4E1A2BB3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1855" y="4313570"/>
            <a:ext cx="1963754" cy="1963754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C0698C19-E0FD-5AF0-B026-2B62E65D06F5}"/>
              </a:ext>
            </a:extLst>
          </p:cNvPr>
          <p:cNvGrpSpPr/>
          <p:nvPr/>
        </p:nvGrpSpPr>
        <p:grpSpPr>
          <a:xfrm>
            <a:off x="7478693" y="3149521"/>
            <a:ext cx="1025861" cy="1089287"/>
            <a:chOff x="6618867" y="3226748"/>
            <a:chExt cx="1025861" cy="1089287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36B3B629-B8C8-15FB-A48B-384C2983C65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68572" y="3226748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367CC770-08FB-8AE4-530A-478819B22F1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58686" y="3315374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28170BA1-E1FC-7D2C-BA98-3C42F65E50F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8867" y="3429000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FB45E0BB-2B32-BB11-85B1-A3A74A8D81C8}"/>
              </a:ext>
            </a:extLst>
          </p:cNvPr>
          <p:cNvGrpSpPr/>
          <p:nvPr/>
        </p:nvGrpSpPr>
        <p:grpSpPr>
          <a:xfrm>
            <a:off x="4002340" y="2355237"/>
            <a:ext cx="2524402" cy="978847"/>
            <a:chOff x="5159830" y="2351275"/>
            <a:chExt cx="2524402" cy="978847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3FF40BB-26DA-E3DD-6351-24DE54E3BD81}"/>
                </a:ext>
              </a:extLst>
            </p:cNvPr>
            <p:cNvGrpSpPr/>
            <p:nvPr/>
          </p:nvGrpSpPr>
          <p:grpSpPr>
            <a:xfrm>
              <a:off x="6579655" y="2360890"/>
              <a:ext cx="1015441" cy="969232"/>
              <a:chOff x="3409768" y="2600757"/>
              <a:chExt cx="1571305" cy="1560279"/>
            </a:xfrm>
          </p:grpSpPr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219DB6DD-594A-8956-2C7D-A848844A957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3987546" y="2600757"/>
                <a:ext cx="993527" cy="126704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3" name="Picture 12" descr="A white robot with a black background&#10;&#10;Description automatically generated">
                <a:extLst>
                  <a:ext uri="{FF2B5EF4-FFF2-40B4-BE49-F238E27FC236}">
                    <a16:creationId xmlns:a16="http://schemas.microsoft.com/office/drawing/2014/main" id="{91F8EF9C-1BEE-8152-85FD-C1F244475C3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09768" y="3005480"/>
                <a:ext cx="1155556" cy="1155556"/>
              </a:xfrm>
              <a:prstGeom prst="rect">
                <a:avLst/>
              </a:prstGeom>
            </p:spPr>
          </p:pic>
        </p:grp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48D46E8A-F3EF-5447-900A-72F0A07C1A12}"/>
                </a:ext>
              </a:extLst>
            </p:cNvPr>
            <p:cNvSpPr/>
            <p:nvPr/>
          </p:nvSpPr>
          <p:spPr>
            <a:xfrm>
              <a:off x="5159830" y="2351275"/>
              <a:ext cx="2524402" cy="870972"/>
            </a:xfrm>
            <a:custGeom>
              <a:avLst/>
              <a:gdLst>
                <a:gd name="connsiteX0" fmla="*/ 0 w 2524402"/>
                <a:gd name="connsiteY0" fmla="*/ 145165 h 870972"/>
                <a:gd name="connsiteX1" fmla="*/ 145165 w 2524402"/>
                <a:gd name="connsiteY1" fmla="*/ 0 h 870972"/>
                <a:gd name="connsiteX2" fmla="*/ 748364 w 2524402"/>
                <a:gd name="connsiteY2" fmla="*/ 0 h 870972"/>
                <a:gd name="connsiteX3" fmla="*/ 1284542 w 2524402"/>
                <a:gd name="connsiteY3" fmla="*/ 0 h 870972"/>
                <a:gd name="connsiteX4" fmla="*/ 1798378 w 2524402"/>
                <a:gd name="connsiteY4" fmla="*/ 0 h 870972"/>
                <a:gd name="connsiteX5" fmla="*/ 2379237 w 2524402"/>
                <a:gd name="connsiteY5" fmla="*/ 0 h 870972"/>
                <a:gd name="connsiteX6" fmla="*/ 2524402 w 2524402"/>
                <a:gd name="connsiteY6" fmla="*/ 145165 h 870972"/>
                <a:gd name="connsiteX7" fmla="*/ 2524402 w 2524402"/>
                <a:gd name="connsiteY7" fmla="*/ 725807 h 870972"/>
                <a:gd name="connsiteX8" fmla="*/ 2379237 w 2524402"/>
                <a:gd name="connsiteY8" fmla="*/ 870972 h 870972"/>
                <a:gd name="connsiteX9" fmla="*/ 1865400 w 2524402"/>
                <a:gd name="connsiteY9" fmla="*/ 870972 h 870972"/>
                <a:gd name="connsiteX10" fmla="*/ 1306882 w 2524402"/>
                <a:gd name="connsiteY10" fmla="*/ 870972 h 870972"/>
                <a:gd name="connsiteX11" fmla="*/ 770705 w 2524402"/>
                <a:gd name="connsiteY11" fmla="*/ 870972 h 870972"/>
                <a:gd name="connsiteX12" fmla="*/ 145165 w 2524402"/>
                <a:gd name="connsiteY12" fmla="*/ 870972 h 870972"/>
                <a:gd name="connsiteX13" fmla="*/ 0 w 2524402"/>
                <a:gd name="connsiteY13" fmla="*/ 725807 h 870972"/>
                <a:gd name="connsiteX14" fmla="*/ 0 w 2524402"/>
                <a:gd name="connsiteY14" fmla="*/ 145165 h 870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524402" h="870972" extrusionOk="0">
                  <a:moveTo>
                    <a:pt x="0" y="145165"/>
                  </a:moveTo>
                  <a:cubicBezTo>
                    <a:pt x="-2432" y="63493"/>
                    <a:pt x="60286" y="1767"/>
                    <a:pt x="145165" y="0"/>
                  </a:cubicBezTo>
                  <a:cubicBezTo>
                    <a:pt x="400458" y="18209"/>
                    <a:pt x="463932" y="-22702"/>
                    <a:pt x="748364" y="0"/>
                  </a:cubicBezTo>
                  <a:cubicBezTo>
                    <a:pt x="1032796" y="22702"/>
                    <a:pt x="1144762" y="-11028"/>
                    <a:pt x="1284542" y="0"/>
                  </a:cubicBezTo>
                  <a:cubicBezTo>
                    <a:pt x="1424322" y="11028"/>
                    <a:pt x="1594799" y="-3746"/>
                    <a:pt x="1798378" y="0"/>
                  </a:cubicBezTo>
                  <a:cubicBezTo>
                    <a:pt x="2001957" y="3746"/>
                    <a:pt x="2179491" y="-12282"/>
                    <a:pt x="2379237" y="0"/>
                  </a:cubicBezTo>
                  <a:cubicBezTo>
                    <a:pt x="2467832" y="-17333"/>
                    <a:pt x="2518177" y="64040"/>
                    <a:pt x="2524402" y="145165"/>
                  </a:cubicBezTo>
                  <a:cubicBezTo>
                    <a:pt x="2523724" y="283097"/>
                    <a:pt x="2542239" y="436287"/>
                    <a:pt x="2524402" y="725807"/>
                  </a:cubicBezTo>
                  <a:cubicBezTo>
                    <a:pt x="2523003" y="808293"/>
                    <a:pt x="2453448" y="864058"/>
                    <a:pt x="2379237" y="870972"/>
                  </a:cubicBezTo>
                  <a:cubicBezTo>
                    <a:pt x="2151335" y="891722"/>
                    <a:pt x="1999314" y="863341"/>
                    <a:pt x="1865400" y="870972"/>
                  </a:cubicBezTo>
                  <a:cubicBezTo>
                    <a:pt x="1731486" y="878603"/>
                    <a:pt x="1564917" y="867392"/>
                    <a:pt x="1306882" y="870972"/>
                  </a:cubicBezTo>
                  <a:cubicBezTo>
                    <a:pt x="1048847" y="874552"/>
                    <a:pt x="945230" y="879456"/>
                    <a:pt x="770705" y="870972"/>
                  </a:cubicBezTo>
                  <a:cubicBezTo>
                    <a:pt x="596180" y="862488"/>
                    <a:pt x="407705" y="881297"/>
                    <a:pt x="145165" y="870972"/>
                  </a:cubicBezTo>
                  <a:cubicBezTo>
                    <a:pt x="71516" y="862874"/>
                    <a:pt x="-7474" y="803090"/>
                    <a:pt x="0" y="725807"/>
                  </a:cubicBezTo>
                  <a:cubicBezTo>
                    <a:pt x="-12566" y="560420"/>
                    <a:pt x="21171" y="359004"/>
                    <a:pt x="0" y="145165"/>
                  </a:cubicBezTo>
                  <a:close/>
                </a:path>
              </a:pathLst>
            </a:custGeom>
            <a:noFill/>
            <a:ln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>
                  <a:solidFill>
                    <a:schemeClr val="tx1"/>
                  </a:solidFill>
                </a:rPr>
                <a:t>Portal Users</a:t>
              </a: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03B6213-071E-8360-55C9-2E76F5618D4B}"/>
              </a:ext>
            </a:extLst>
          </p:cNvPr>
          <p:cNvGrpSpPr/>
          <p:nvPr/>
        </p:nvGrpSpPr>
        <p:grpSpPr>
          <a:xfrm>
            <a:off x="290310" y="3266167"/>
            <a:ext cx="6236432" cy="913743"/>
            <a:chOff x="1447800" y="3262205"/>
            <a:chExt cx="6236432" cy="913743"/>
          </a:xfrm>
        </p:grpSpPr>
        <p:pic>
          <p:nvPicPr>
            <p:cNvPr id="35" name="Picture 2">
              <a:extLst>
                <a:ext uri="{FF2B5EF4-FFF2-40B4-BE49-F238E27FC236}">
                  <a16:creationId xmlns:a16="http://schemas.microsoft.com/office/drawing/2014/main" id="{DC9A4960-2CB1-493F-32B5-BF486C55C8F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90354" y="3262205"/>
              <a:ext cx="913743" cy="9137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2A659272-B513-58A4-7248-1AAEA048A774}"/>
                </a:ext>
              </a:extLst>
            </p:cNvPr>
            <p:cNvSpPr/>
            <p:nvPr/>
          </p:nvSpPr>
          <p:spPr>
            <a:xfrm>
              <a:off x="1447800" y="3283591"/>
              <a:ext cx="6236432" cy="870972"/>
            </a:xfrm>
            <a:custGeom>
              <a:avLst/>
              <a:gdLst>
                <a:gd name="connsiteX0" fmla="*/ 0 w 6236432"/>
                <a:gd name="connsiteY0" fmla="*/ 145165 h 870972"/>
                <a:gd name="connsiteX1" fmla="*/ 145165 w 6236432"/>
                <a:gd name="connsiteY1" fmla="*/ 0 h 870972"/>
                <a:gd name="connsiteX2" fmla="*/ 924765 w 6236432"/>
                <a:gd name="connsiteY2" fmla="*/ 0 h 870972"/>
                <a:gd name="connsiteX3" fmla="*/ 1525982 w 6236432"/>
                <a:gd name="connsiteY3" fmla="*/ 0 h 870972"/>
                <a:gd name="connsiteX4" fmla="*/ 2067738 w 6236432"/>
                <a:gd name="connsiteY4" fmla="*/ 0 h 870972"/>
                <a:gd name="connsiteX5" fmla="*/ 2787877 w 6236432"/>
                <a:gd name="connsiteY5" fmla="*/ 0 h 870972"/>
                <a:gd name="connsiteX6" fmla="*/ 3389094 w 6236432"/>
                <a:gd name="connsiteY6" fmla="*/ 0 h 870972"/>
                <a:gd name="connsiteX7" fmla="*/ 4168694 w 6236432"/>
                <a:gd name="connsiteY7" fmla="*/ 0 h 870972"/>
                <a:gd name="connsiteX8" fmla="*/ 4710450 w 6236432"/>
                <a:gd name="connsiteY8" fmla="*/ 0 h 870972"/>
                <a:gd name="connsiteX9" fmla="*/ 5490050 w 6236432"/>
                <a:gd name="connsiteY9" fmla="*/ 0 h 870972"/>
                <a:gd name="connsiteX10" fmla="*/ 6091267 w 6236432"/>
                <a:gd name="connsiteY10" fmla="*/ 0 h 870972"/>
                <a:gd name="connsiteX11" fmla="*/ 6236432 w 6236432"/>
                <a:gd name="connsiteY11" fmla="*/ 145165 h 870972"/>
                <a:gd name="connsiteX12" fmla="*/ 6236432 w 6236432"/>
                <a:gd name="connsiteY12" fmla="*/ 725807 h 870972"/>
                <a:gd name="connsiteX13" fmla="*/ 6091267 w 6236432"/>
                <a:gd name="connsiteY13" fmla="*/ 870972 h 870972"/>
                <a:gd name="connsiteX14" fmla="*/ 5430589 w 6236432"/>
                <a:gd name="connsiteY14" fmla="*/ 870972 h 870972"/>
                <a:gd name="connsiteX15" fmla="*/ 4769911 w 6236432"/>
                <a:gd name="connsiteY15" fmla="*/ 870972 h 870972"/>
                <a:gd name="connsiteX16" fmla="*/ 3990311 w 6236432"/>
                <a:gd name="connsiteY16" fmla="*/ 870972 h 870972"/>
                <a:gd name="connsiteX17" fmla="*/ 3329633 w 6236432"/>
                <a:gd name="connsiteY17" fmla="*/ 870972 h 870972"/>
                <a:gd name="connsiteX18" fmla="*/ 2847338 w 6236432"/>
                <a:gd name="connsiteY18" fmla="*/ 870972 h 870972"/>
                <a:gd name="connsiteX19" fmla="*/ 2305582 w 6236432"/>
                <a:gd name="connsiteY19" fmla="*/ 870972 h 870972"/>
                <a:gd name="connsiteX20" fmla="*/ 1525982 w 6236432"/>
                <a:gd name="connsiteY20" fmla="*/ 870972 h 870972"/>
                <a:gd name="connsiteX21" fmla="*/ 865304 w 6236432"/>
                <a:gd name="connsiteY21" fmla="*/ 870972 h 870972"/>
                <a:gd name="connsiteX22" fmla="*/ 145165 w 6236432"/>
                <a:gd name="connsiteY22" fmla="*/ 870972 h 870972"/>
                <a:gd name="connsiteX23" fmla="*/ 0 w 6236432"/>
                <a:gd name="connsiteY23" fmla="*/ 725807 h 870972"/>
                <a:gd name="connsiteX24" fmla="*/ 0 w 6236432"/>
                <a:gd name="connsiteY24" fmla="*/ 145165 h 870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236432" h="870972" extrusionOk="0">
                  <a:moveTo>
                    <a:pt x="0" y="145165"/>
                  </a:moveTo>
                  <a:cubicBezTo>
                    <a:pt x="-2432" y="63493"/>
                    <a:pt x="60286" y="1767"/>
                    <a:pt x="145165" y="0"/>
                  </a:cubicBezTo>
                  <a:cubicBezTo>
                    <a:pt x="517727" y="20843"/>
                    <a:pt x="628589" y="-20231"/>
                    <a:pt x="924765" y="0"/>
                  </a:cubicBezTo>
                  <a:cubicBezTo>
                    <a:pt x="1220941" y="20231"/>
                    <a:pt x="1335060" y="11032"/>
                    <a:pt x="1525982" y="0"/>
                  </a:cubicBezTo>
                  <a:cubicBezTo>
                    <a:pt x="1716904" y="-11032"/>
                    <a:pt x="1922366" y="-23589"/>
                    <a:pt x="2067738" y="0"/>
                  </a:cubicBezTo>
                  <a:cubicBezTo>
                    <a:pt x="2213110" y="23589"/>
                    <a:pt x="2449000" y="28805"/>
                    <a:pt x="2787877" y="0"/>
                  </a:cubicBezTo>
                  <a:cubicBezTo>
                    <a:pt x="3126754" y="-28805"/>
                    <a:pt x="3121507" y="-3469"/>
                    <a:pt x="3389094" y="0"/>
                  </a:cubicBezTo>
                  <a:cubicBezTo>
                    <a:pt x="3656681" y="3469"/>
                    <a:pt x="3782955" y="35219"/>
                    <a:pt x="4168694" y="0"/>
                  </a:cubicBezTo>
                  <a:cubicBezTo>
                    <a:pt x="4554433" y="-35219"/>
                    <a:pt x="4498937" y="131"/>
                    <a:pt x="4710450" y="0"/>
                  </a:cubicBezTo>
                  <a:cubicBezTo>
                    <a:pt x="4921963" y="-131"/>
                    <a:pt x="5157343" y="5839"/>
                    <a:pt x="5490050" y="0"/>
                  </a:cubicBezTo>
                  <a:cubicBezTo>
                    <a:pt x="5822757" y="-5839"/>
                    <a:pt x="5851435" y="8407"/>
                    <a:pt x="6091267" y="0"/>
                  </a:cubicBezTo>
                  <a:cubicBezTo>
                    <a:pt x="6163637" y="-446"/>
                    <a:pt x="6243186" y="46473"/>
                    <a:pt x="6236432" y="145165"/>
                  </a:cubicBezTo>
                  <a:cubicBezTo>
                    <a:pt x="6242131" y="373351"/>
                    <a:pt x="6253856" y="495594"/>
                    <a:pt x="6236432" y="725807"/>
                  </a:cubicBezTo>
                  <a:cubicBezTo>
                    <a:pt x="6249015" y="821392"/>
                    <a:pt x="6182646" y="861159"/>
                    <a:pt x="6091267" y="870972"/>
                  </a:cubicBezTo>
                  <a:cubicBezTo>
                    <a:pt x="5922880" y="845600"/>
                    <a:pt x="5611686" y="856693"/>
                    <a:pt x="5430589" y="870972"/>
                  </a:cubicBezTo>
                  <a:cubicBezTo>
                    <a:pt x="5249492" y="885251"/>
                    <a:pt x="4936735" y="876352"/>
                    <a:pt x="4769911" y="870972"/>
                  </a:cubicBezTo>
                  <a:cubicBezTo>
                    <a:pt x="4603087" y="865592"/>
                    <a:pt x="4203966" y="854272"/>
                    <a:pt x="3990311" y="870972"/>
                  </a:cubicBezTo>
                  <a:cubicBezTo>
                    <a:pt x="3776656" y="887672"/>
                    <a:pt x="3632581" y="892763"/>
                    <a:pt x="3329633" y="870972"/>
                  </a:cubicBezTo>
                  <a:cubicBezTo>
                    <a:pt x="3026685" y="849181"/>
                    <a:pt x="3016190" y="864735"/>
                    <a:pt x="2847338" y="870972"/>
                  </a:cubicBezTo>
                  <a:cubicBezTo>
                    <a:pt x="2678486" y="877209"/>
                    <a:pt x="2505138" y="895154"/>
                    <a:pt x="2305582" y="870972"/>
                  </a:cubicBezTo>
                  <a:cubicBezTo>
                    <a:pt x="2106026" y="846790"/>
                    <a:pt x="1810298" y="890584"/>
                    <a:pt x="1525982" y="870972"/>
                  </a:cubicBezTo>
                  <a:cubicBezTo>
                    <a:pt x="1241666" y="851360"/>
                    <a:pt x="1083598" y="901184"/>
                    <a:pt x="865304" y="870972"/>
                  </a:cubicBezTo>
                  <a:cubicBezTo>
                    <a:pt x="647010" y="840760"/>
                    <a:pt x="303452" y="879368"/>
                    <a:pt x="145165" y="870972"/>
                  </a:cubicBezTo>
                  <a:cubicBezTo>
                    <a:pt x="64380" y="854445"/>
                    <a:pt x="12472" y="808580"/>
                    <a:pt x="0" y="725807"/>
                  </a:cubicBezTo>
                  <a:cubicBezTo>
                    <a:pt x="26606" y="505643"/>
                    <a:pt x="-22211" y="341303"/>
                    <a:pt x="0" y="145165"/>
                  </a:cubicBezTo>
                  <a:close/>
                </a:path>
              </a:pathLst>
            </a:custGeom>
            <a:noFill/>
            <a:ln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>
                  <a:solidFill>
                    <a:schemeClr val="tx1"/>
                  </a:solidFill>
                </a:rPr>
                <a:t>Task - AzureResourceManagerTemplateDeployment@3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320AE23B-D220-AC30-9A1F-1FCE4447D838}"/>
              </a:ext>
            </a:extLst>
          </p:cNvPr>
          <p:cNvGrpSpPr/>
          <p:nvPr/>
        </p:nvGrpSpPr>
        <p:grpSpPr>
          <a:xfrm>
            <a:off x="2717824" y="4212240"/>
            <a:ext cx="3808918" cy="913743"/>
            <a:chOff x="3875314" y="4208278"/>
            <a:chExt cx="3808918" cy="913743"/>
          </a:xfrm>
        </p:grpSpPr>
        <p:pic>
          <p:nvPicPr>
            <p:cNvPr id="40" name="Picture 2">
              <a:extLst>
                <a:ext uri="{FF2B5EF4-FFF2-40B4-BE49-F238E27FC236}">
                  <a16:creationId xmlns:a16="http://schemas.microsoft.com/office/drawing/2014/main" id="{2D24DA17-1E83-4F84-FD51-3D37C7E4A21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90354" y="4208278"/>
              <a:ext cx="913743" cy="9137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25205857-4428-0011-87EE-BB959CA68568}"/>
                </a:ext>
              </a:extLst>
            </p:cNvPr>
            <p:cNvSpPr/>
            <p:nvPr/>
          </p:nvSpPr>
          <p:spPr>
            <a:xfrm>
              <a:off x="3875314" y="4229664"/>
              <a:ext cx="3808918" cy="870972"/>
            </a:xfrm>
            <a:custGeom>
              <a:avLst/>
              <a:gdLst>
                <a:gd name="connsiteX0" fmla="*/ 0 w 3808918"/>
                <a:gd name="connsiteY0" fmla="*/ 145165 h 870972"/>
                <a:gd name="connsiteX1" fmla="*/ 145165 w 3808918"/>
                <a:gd name="connsiteY1" fmla="*/ 0 h 870972"/>
                <a:gd name="connsiteX2" fmla="*/ 801968 w 3808918"/>
                <a:gd name="connsiteY2" fmla="*/ 0 h 870972"/>
                <a:gd name="connsiteX3" fmla="*/ 1353214 w 3808918"/>
                <a:gd name="connsiteY3" fmla="*/ 0 h 870972"/>
                <a:gd name="connsiteX4" fmla="*/ 1869273 w 3808918"/>
                <a:gd name="connsiteY4" fmla="*/ 0 h 870972"/>
                <a:gd name="connsiteX5" fmla="*/ 2490890 w 3808918"/>
                <a:gd name="connsiteY5" fmla="*/ 0 h 870972"/>
                <a:gd name="connsiteX6" fmla="*/ 3042136 w 3808918"/>
                <a:gd name="connsiteY6" fmla="*/ 0 h 870972"/>
                <a:gd name="connsiteX7" fmla="*/ 3663753 w 3808918"/>
                <a:gd name="connsiteY7" fmla="*/ 0 h 870972"/>
                <a:gd name="connsiteX8" fmla="*/ 3808918 w 3808918"/>
                <a:gd name="connsiteY8" fmla="*/ 145165 h 870972"/>
                <a:gd name="connsiteX9" fmla="*/ 3808918 w 3808918"/>
                <a:gd name="connsiteY9" fmla="*/ 725807 h 870972"/>
                <a:gd name="connsiteX10" fmla="*/ 3663753 w 3808918"/>
                <a:gd name="connsiteY10" fmla="*/ 870972 h 870972"/>
                <a:gd name="connsiteX11" fmla="*/ 3042136 w 3808918"/>
                <a:gd name="connsiteY11" fmla="*/ 870972 h 870972"/>
                <a:gd name="connsiteX12" fmla="*/ 2385333 w 3808918"/>
                <a:gd name="connsiteY12" fmla="*/ 870972 h 870972"/>
                <a:gd name="connsiteX13" fmla="*/ 1728530 w 3808918"/>
                <a:gd name="connsiteY13" fmla="*/ 870972 h 870972"/>
                <a:gd name="connsiteX14" fmla="*/ 1212470 w 3808918"/>
                <a:gd name="connsiteY14" fmla="*/ 870972 h 870972"/>
                <a:gd name="connsiteX15" fmla="*/ 145165 w 3808918"/>
                <a:gd name="connsiteY15" fmla="*/ 870972 h 870972"/>
                <a:gd name="connsiteX16" fmla="*/ 0 w 3808918"/>
                <a:gd name="connsiteY16" fmla="*/ 725807 h 870972"/>
                <a:gd name="connsiteX17" fmla="*/ 0 w 3808918"/>
                <a:gd name="connsiteY17" fmla="*/ 145165 h 870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808918" h="870972" extrusionOk="0">
                  <a:moveTo>
                    <a:pt x="0" y="145165"/>
                  </a:moveTo>
                  <a:cubicBezTo>
                    <a:pt x="-2432" y="63493"/>
                    <a:pt x="60286" y="1767"/>
                    <a:pt x="145165" y="0"/>
                  </a:cubicBezTo>
                  <a:cubicBezTo>
                    <a:pt x="305308" y="32643"/>
                    <a:pt x="564674" y="-13439"/>
                    <a:pt x="801968" y="0"/>
                  </a:cubicBezTo>
                  <a:cubicBezTo>
                    <a:pt x="1039262" y="13439"/>
                    <a:pt x="1224118" y="-25550"/>
                    <a:pt x="1353214" y="0"/>
                  </a:cubicBezTo>
                  <a:cubicBezTo>
                    <a:pt x="1482310" y="25550"/>
                    <a:pt x="1618566" y="-7032"/>
                    <a:pt x="1869273" y="0"/>
                  </a:cubicBezTo>
                  <a:cubicBezTo>
                    <a:pt x="2119980" y="7032"/>
                    <a:pt x="2243107" y="-5164"/>
                    <a:pt x="2490890" y="0"/>
                  </a:cubicBezTo>
                  <a:cubicBezTo>
                    <a:pt x="2738673" y="5164"/>
                    <a:pt x="2856994" y="21589"/>
                    <a:pt x="3042136" y="0"/>
                  </a:cubicBezTo>
                  <a:cubicBezTo>
                    <a:pt x="3227278" y="-21589"/>
                    <a:pt x="3467426" y="-8062"/>
                    <a:pt x="3663753" y="0"/>
                  </a:cubicBezTo>
                  <a:cubicBezTo>
                    <a:pt x="3743629" y="-2822"/>
                    <a:pt x="3806091" y="68922"/>
                    <a:pt x="3808918" y="145165"/>
                  </a:cubicBezTo>
                  <a:cubicBezTo>
                    <a:pt x="3801164" y="391085"/>
                    <a:pt x="3821737" y="518789"/>
                    <a:pt x="3808918" y="725807"/>
                  </a:cubicBezTo>
                  <a:cubicBezTo>
                    <a:pt x="3801116" y="805533"/>
                    <a:pt x="3750679" y="852452"/>
                    <a:pt x="3663753" y="870972"/>
                  </a:cubicBezTo>
                  <a:cubicBezTo>
                    <a:pt x="3433741" y="896471"/>
                    <a:pt x="3306404" y="893299"/>
                    <a:pt x="3042136" y="870972"/>
                  </a:cubicBezTo>
                  <a:cubicBezTo>
                    <a:pt x="2777868" y="848645"/>
                    <a:pt x="2676399" y="891293"/>
                    <a:pt x="2385333" y="870972"/>
                  </a:cubicBezTo>
                  <a:cubicBezTo>
                    <a:pt x="2094267" y="850651"/>
                    <a:pt x="1924166" y="879699"/>
                    <a:pt x="1728530" y="870972"/>
                  </a:cubicBezTo>
                  <a:cubicBezTo>
                    <a:pt x="1532894" y="862245"/>
                    <a:pt x="1319113" y="864886"/>
                    <a:pt x="1212470" y="870972"/>
                  </a:cubicBezTo>
                  <a:cubicBezTo>
                    <a:pt x="1105827" y="877058"/>
                    <a:pt x="626075" y="892401"/>
                    <a:pt x="145165" y="870972"/>
                  </a:cubicBezTo>
                  <a:cubicBezTo>
                    <a:pt x="56224" y="853098"/>
                    <a:pt x="662" y="797030"/>
                    <a:pt x="0" y="725807"/>
                  </a:cubicBezTo>
                  <a:cubicBezTo>
                    <a:pt x="5904" y="565400"/>
                    <a:pt x="12411" y="345040"/>
                    <a:pt x="0" y="145165"/>
                  </a:cubicBezTo>
                  <a:close/>
                </a:path>
              </a:pathLst>
            </a:custGeom>
            <a:noFill/>
            <a:ln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>
                  <a:solidFill>
                    <a:schemeClr val="tx1"/>
                  </a:solidFill>
                </a:rPr>
                <a:t>Task - </a:t>
              </a:r>
              <a:r>
                <a:rPr lang="en-US" i="0" dirty="0">
                  <a:solidFill>
                    <a:srgbClr val="161616"/>
                  </a:solidFill>
                  <a:effectLst/>
                  <a:latin typeface="Segoe UI" panose="020B0502040204020203" pitchFamily="34" charset="0"/>
                </a:rPr>
                <a:t>AzurePowerShell@5</a:t>
              </a: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45B2D145-8249-1C40-FA8B-2AA5B1C3C8B3}"/>
              </a:ext>
            </a:extLst>
          </p:cNvPr>
          <p:cNvGrpSpPr/>
          <p:nvPr/>
        </p:nvGrpSpPr>
        <p:grpSpPr>
          <a:xfrm>
            <a:off x="8951103" y="4260322"/>
            <a:ext cx="2996311" cy="870972"/>
            <a:chOff x="4528457" y="5219932"/>
            <a:chExt cx="3155775" cy="870972"/>
          </a:xfrm>
        </p:grpSpPr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F3368DF5-B76E-B270-5D42-C47A0C92AD76}"/>
                </a:ext>
              </a:extLst>
            </p:cNvPr>
            <p:cNvSpPr/>
            <p:nvPr/>
          </p:nvSpPr>
          <p:spPr>
            <a:xfrm>
              <a:off x="4528457" y="5219932"/>
              <a:ext cx="3155775" cy="870972"/>
            </a:xfrm>
            <a:custGeom>
              <a:avLst/>
              <a:gdLst>
                <a:gd name="connsiteX0" fmla="*/ 0 w 3155775"/>
                <a:gd name="connsiteY0" fmla="*/ 145165 h 870972"/>
                <a:gd name="connsiteX1" fmla="*/ 145165 w 3155775"/>
                <a:gd name="connsiteY1" fmla="*/ 0 h 870972"/>
                <a:gd name="connsiteX2" fmla="*/ 775563 w 3155775"/>
                <a:gd name="connsiteY2" fmla="*/ 0 h 870972"/>
                <a:gd name="connsiteX3" fmla="*/ 1319997 w 3155775"/>
                <a:gd name="connsiteY3" fmla="*/ 0 h 870972"/>
                <a:gd name="connsiteX4" fmla="*/ 1835778 w 3155775"/>
                <a:gd name="connsiteY4" fmla="*/ 0 h 870972"/>
                <a:gd name="connsiteX5" fmla="*/ 2437521 w 3155775"/>
                <a:gd name="connsiteY5" fmla="*/ 0 h 870972"/>
                <a:gd name="connsiteX6" fmla="*/ 3010610 w 3155775"/>
                <a:gd name="connsiteY6" fmla="*/ 0 h 870972"/>
                <a:gd name="connsiteX7" fmla="*/ 3155775 w 3155775"/>
                <a:gd name="connsiteY7" fmla="*/ 145165 h 870972"/>
                <a:gd name="connsiteX8" fmla="*/ 3155775 w 3155775"/>
                <a:gd name="connsiteY8" fmla="*/ 725807 h 870972"/>
                <a:gd name="connsiteX9" fmla="*/ 3010610 w 3155775"/>
                <a:gd name="connsiteY9" fmla="*/ 870972 h 870972"/>
                <a:gd name="connsiteX10" fmla="*/ 2437521 w 3155775"/>
                <a:gd name="connsiteY10" fmla="*/ 870972 h 870972"/>
                <a:gd name="connsiteX11" fmla="*/ 1893086 w 3155775"/>
                <a:gd name="connsiteY11" fmla="*/ 870972 h 870972"/>
                <a:gd name="connsiteX12" fmla="*/ 1262689 w 3155775"/>
                <a:gd name="connsiteY12" fmla="*/ 870972 h 870972"/>
                <a:gd name="connsiteX13" fmla="*/ 632291 w 3155775"/>
                <a:gd name="connsiteY13" fmla="*/ 870972 h 870972"/>
                <a:gd name="connsiteX14" fmla="*/ 145165 w 3155775"/>
                <a:gd name="connsiteY14" fmla="*/ 870972 h 870972"/>
                <a:gd name="connsiteX15" fmla="*/ 0 w 3155775"/>
                <a:gd name="connsiteY15" fmla="*/ 725807 h 870972"/>
                <a:gd name="connsiteX16" fmla="*/ 0 w 3155775"/>
                <a:gd name="connsiteY16" fmla="*/ 145165 h 870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155775" h="870972" extrusionOk="0">
                  <a:moveTo>
                    <a:pt x="0" y="145165"/>
                  </a:moveTo>
                  <a:cubicBezTo>
                    <a:pt x="-2432" y="63493"/>
                    <a:pt x="60286" y="1767"/>
                    <a:pt x="145165" y="0"/>
                  </a:cubicBezTo>
                  <a:cubicBezTo>
                    <a:pt x="284185" y="-13822"/>
                    <a:pt x="501347" y="-23096"/>
                    <a:pt x="775563" y="0"/>
                  </a:cubicBezTo>
                  <a:cubicBezTo>
                    <a:pt x="1049779" y="23096"/>
                    <a:pt x="1169209" y="26764"/>
                    <a:pt x="1319997" y="0"/>
                  </a:cubicBezTo>
                  <a:cubicBezTo>
                    <a:pt x="1470785" y="-26764"/>
                    <a:pt x="1590965" y="-3966"/>
                    <a:pt x="1835778" y="0"/>
                  </a:cubicBezTo>
                  <a:cubicBezTo>
                    <a:pt x="2080591" y="3966"/>
                    <a:pt x="2262791" y="-26063"/>
                    <a:pt x="2437521" y="0"/>
                  </a:cubicBezTo>
                  <a:cubicBezTo>
                    <a:pt x="2612251" y="26063"/>
                    <a:pt x="2866309" y="-15619"/>
                    <a:pt x="3010610" y="0"/>
                  </a:cubicBezTo>
                  <a:cubicBezTo>
                    <a:pt x="3094824" y="-6577"/>
                    <a:pt x="3145135" y="74344"/>
                    <a:pt x="3155775" y="145165"/>
                  </a:cubicBezTo>
                  <a:cubicBezTo>
                    <a:pt x="3141777" y="324747"/>
                    <a:pt x="3164617" y="514745"/>
                    <a:pt x="3155775" y="725807"/>
                  </a:cubicBezTo>
                  <a:cubicBezTo>
                    <a:pt x="3169744" y="809338"/>
                    <a:pt x="3075384" y="868481"/>
                    <a:pt x="3010610" y="870972"/>
                  </a:cubicBezTo>
                  <a:cubicBezTo>
                    <a:pt x="2825799" y="858523"/>
                    <a:pt x="2622112" y="886386"/>
                    <a:pt x="2437521" y="870972"/>
                  </a:cubicBezTo>
                  <a:cubicBezTo>
                    <a:pt x="2252930" y="855558"/>
                    <a:pt x="2154016" y="852978"/>
                    <a:pt x="1893086" y="870972"/>
                  </a:cubicBezTo>
                  <a:cubicBezTo>
                    <a:pt x="1632156" y="888966"/>
                    <a:pt x="1481776" y="886049"/>
                    <a:pt x="1262689" y="870972"/>
                  </a:cubicBezTo>
                  <a:cubicBezTo>
                    <a:pt x="1043602" y="855895"/>
                    <a:pt x="768450" y="895412"/>
                    <a:pt x="632291" y="870972"/>
                  </a:cubicBezTo>
                  <a:cubicBezTo>
                    <a:pt x="496132" y="846532"/>
                    <a:pt x="336941" y="856066"/>
                    <a:pt x="145165" y="870972"/>
                  </a:cubicBezTo>
                  <a:cubicBezTo>
                    <a:pt x="54706" y="861280"/>
                    <a:pt x="-3061" y="801403"/>
                    <a:pt x="0" y="725807"/>
                  </a:cubicBezTo>
                  <a:cubicBezTo>
                    <a:pt x="-1635" y="483453"/>
                    <a:pt x="21514" y="270937"/>
                    <a:pt x="0" y="145165"/>
                  </a:cubicBezTo>
                  <a:close/>
                </a:path>
              </a:pathLst>
            </a:custGeom>
            <a:noFill/>
            <a:ln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dirty="0">
                  <a:solidFill>
                    <a:schemeClr val="tx1"/>
                  </a:solidFill>
                  <a:hlinkClick r:id="rId7"/>
                </a:rPr>
                <a:t>Bicep/Arm Templates</a:t>
              </a:r>
              <a:endParaRPr lang="en-US" i="0" dirty="0">
                <a:solidFill>
                  <a:srgbClr val="161616"/>
                </a:solidFill>
                <a:effectLst/>
                <a:latin typeface="Segoe UI" panose="020B0502040204020203" pitchFamily="34" charset="0"/>
              </a:endParaRPr>
            </a:p>
          </p:txBody>
        </p:sp>
        <p:pic>
          <p:nvPicPr>
            <p:cNvPr id="1026" name="Picture 2" descr="Bicep for Visual Studio">
              <a:extLst>
                <a:ext uri="{FF2B5EF4-FFF2-40B4-BE49-F238E27FC236}">
                  <a16:creationId xmlns:a16="http://schemas.microsoft.com/office/drawing/2014/main" id="{52948F0E-231C-5177-D1A6-8BE86652904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22800" y="5282201"/>
              <a:ext cx="723686" cy="7236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37B2B6E-DFB0-193B-AE75-7443DAEC3C95}"/>
              </a:ext>
            </a:extLst>
          </p:cNvPr>
          <p:cNvGrpSpPr/>
          <p:nvPr/>
        </p:nvGrpSpPr>
        <p:grpSpPr>
          <a:xfrm>
            <a:off x="8951103" y="3333583"/>
            <a:ext cx="2065159" cy="874255"/>
            <a:chOff x="1950358" y="5216649"/>
            <a:chExt cx="2065159" cy="874255"/>
          </a:xfrm>
        </p:grpSpPr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AFB78E60-2E45-8BBB-84DF-E8823F4588B4}"/>
                </a:ext>
              </a:extLst>
            </p:cNvPr>
            <p:cNvSpPr/>
            <p:nvPr/>
          </p:nvSpPr>
          <p:spPr>
            <a:xfrm>
              <a:off x="1959429" y="5219932"/>
              <a:ext cx="2056088" cy="870972"/>
            </a:xfrm>
            <a:custGeom>
              <a:avLst/>
              <a:gdLst>
                <a:gd name="connsiteX0" fmla="*/ 0 w 2056088"/>
                <a:gd name="connsiteY0" fmla="*/ 145165 h 870972"/>
                <a:gd name="connsiteX1" fmla="*/ 145165 w 2056088"/>
                <a:gd name="connsiteY1" fmla="*/ 0 h 870972"/>
                <a:gd name="connsiteX2" fmla="*/ 769066 w 2056088"/>
                <a:gd name="connsiteY2" fmla="*/ 0 h 870972"/>
                <a:gd name="connsiteX3" fmla="*/ 1339995 w 2056088"/>
                <a:gd name="connsiteY3" fmla="*/ 0 h 870972"/>
                <a:gd name="connsiteX4" fmla="*/ 1910923 w 2056088"/>
                <a:gd name="connsiteY4" fmla="*/ 0 h 870972"/>
                <a:gd name="connsiteX5" fmla="*/ 2056088 w 2056088"/>
                <a:gd name="connsiteY5" fmla="*/ 145165 h 870972"/>
                <a:gd name="connsiteX6" fmla="*/ 2056088 w 2056088"/>
                <a:gd name="connsiteY6" fmla="*/ 725807 h 870972"/>
                <a:gd name="connsiteX7" fmla="*/ 1910923 w 2056088"/>
                <a:gd name="connsiteY7" fmla="*/ 870972 h 870972"/>
                <a:gd name="connsiteX8" fmla="*/ 1357652 w 2056088"/>
                <a:gd name="connsiteY8" fmla="*/ 870972 h 870972"/>
                <a:gd name="connsiteX9" fmla="*/ 769066 w 2056088"/>
                <a:gd name="connsiteY9" fmla="*/ 870972 h 870972"/>
                <a:gd name="connsiteX10" fmla="*/ 145165 w 2056088"/>
                <a:gd name="connsiteY10" fmla="*/ 870972 h 870972"/>
                <a:gd name="connsiteX11" fmla="*/ 0 w 2056088"/>
                <a:gd name="connsiteY11" fmla="*/ 725807 h 870972"/>
                <a:gd name="connsiteX12" fmla="*/ 0 w 2056088"/>
                <a:gd name="connsiteY12" fmla="*/ 145165 h 870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56088" h="870972" extrusionOk="0">
                  <a:moveTo>
                    <a:pt x="0" y="145165"/>
                  </a:moveTo>
                  <a:cubicBezTo>
                    <a:pt x="-2432" y="63493"/>
                    <a:pt x="60286" y="1767"/>
                    <a:pt x="145165" y="0"/>
                  </a:cubicBezTo>
                  <a:cubicBezTo>
                    <a:pt x="317572" y="-29342"/>
                    <a:pt x="500561" y="17411"/>
                    <a:pt x="769066" y="0"/>
                  </a:cubicBezTo>
                  <a:cubicBezTo>
                    <a:pt x="1037571" y="-17411"/>
                    <a:pt x="1080018" y="-17002"/>
                    <a:pt x="1339995" y="0"/>
                  </a:cubicBezTo>
                  <a:cubicBezTo>
                    <a:pt x="1599972" y="17002"/>
                    <a:pt x="1695949" y="-26150"/>
                    <a:pt x="1910923" y="0"/>
                  </a:cubicBezTo>
                  <a:cubicBezTo>
                    <a:pt x="1988117" y="-9592"/>
                    <a:pt x="2059434" y="52611"/>
                    <a:pt x="2056088" y="145165"/>
                  </a:cubicBezTo>
                  <a:cubicBezTo>
                    <a:pt x="2059913" y="327905"/>
                    <a:pt x="2046359" y="564412"/>
                    <a:pt x="2056088" y="725807"/>
                  </a:cubicBezTo>
                  <a:cubicBezTo>
                    <a:pt x="2055792" y="803157"/>
                    <a:pt x="1988268" y="874901"/>
                    <a:pt x="1910923" y="870972"/>
                  </a:cubicBezTo>
                  <a:cubicBezTo>
                    <a:pt x="1687605" y="879928"/>
                    <a:pt x="1486840" y="856991"/>
                    <a:pt x="1357652" y="870972"/>
                  </a:cubicBezTo>
                  <a:cubicBezTo>
                    <a:pt x="1228464" y="884953"/>
                    <a:pt x="1003599" y="898678"/>
                    <a:pt x="769066" y="870972"/>
                  </a:cubicBezTo>
                  <a:cubicBezTo>
                    <a:pt x="534533" y="843266"/>
                    <a:pt x="348946" y="865876"/>
                    <a:pt x="145165" y="870972"/>
                  </a:cubicBezTo>
                  <a:cubicBezTo>
                    <a:pt x="68869" y="867142"/>
                    <a:pt x="13885" y="797026"/>
                    <a:pt x="0" y="725807"/>
                  </a:cubicBezTo>
                  <a:cubicBezTo>
                    <a:pt x="-19593" y="471953"/>
                    <a:pt x="-15948" y="364265"/>
                    <a:pt x="0" y="145165"/>
                  </a:cubicBezTo>
                  <a:close/>
                </a:path>
              </a:pathLst>
            </a:custGeom>
            <a:noFill/>
            <a:ln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dirty="0">
                  <a:solidFill>
                    <a:srgbClr val="161616"/>
                  </a:solidFill>
                  <a:latin typeface="Segoe UI" panose="020B0502040204020203" pitchFamily="34" charset="0"/>
                </a:rPr>
                <a:t>PowerShell</a:t>
              </a:r>
              <a:endParaRPr lang="en-US" i="0" dirty="0">
                <a:solidFill>
                  <a:srgbClr val="161616"/>
                </a:solidFill>
                <a:effectLst/>
                <a:latin typeface="Segoe UI" panose="020B0502040204020203" pitchFamily="34" charset="0"/>
              </a:endParaRPr>
            </a:p>
          </p:txBody>
        </p:sp>
        <p:pic>
          <p:nvPicPr>
            <p:cNvPr id="1028" name="Picture 4">
              <a:extLst>
                <a:ext uri="{FF2B5EF4-FFF2-40B4-BE49-F238E27FC236}">
                  <a16:creationId xmlns:a16="http://schemas.microsoft.com/office/drawing/2014/main" id="{BCF79A0D-A66F-60C4-38EE-DDF3683E63A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50358" y="5216649"/>
              <a:ext cx="869784" cy="8697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EE188643-D8F5-945B-43BA-7439435E8A7D}"/>
              </a:ext>
            </a:extLst>
          </p:cNvPr>
          <p:cNvGrpSpPr/>
          <p:nvPr/>
        </p:nvGrpSpPr>
        <p:grpSpPr>
          <a:xfrm>
            <a:off x="8863387" y="2362020"/>
            <a:ext cx="1962184" cy="998141"/>
            <a:chOff x="1272998" y="2263995"/>
            <a:chExt cx="1962184" cy="998141"/>
          </a:xfrm>
        </p:grpSpPr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F8333DA7-EDB2-1482-14CF-29FC378A2E2F}"/>
                </a:ext>
              </a:extLst>
            </p:cNvPr>
            <p:cNvSpPr/>
            <p:nvPr/>
          </p:nvSpPr>
          <p:spPr>
            <a:xfrm>
              <a:off x="1360714" y="2302317"/>
              <a:ext cx="1874468" cy="870972"/>
            </a:xfrm>
            <a:custGeom>
              <a:avLst/>
              <a:gdLst>
                <a:gd name="connsiteX0" fmla="*/ 0 w 1874468"/>
                <a:gd name="connsiteY0" fmla="*/ 145165 h 870972"/>
                <a:gd name="connsiteX1" fmla="*/ 145165 w 1874468"/>
                <a:gd name="connsiteY1" fmla="*/ 0 h 870972"/>
                <a:gd name="connsiteX2" fmla="*/ 704894 w 1874468"/>
                <a:gd name="connsiteY2" fmla="*/ 0 h 870972"/>
                <a:gd name="connsiteX3" fmla="*/ 1217098 w 1874468"/>
                <a:gd name="connsiteY3" fmla="*/ 0 h 870972"/>
                <a:gd name="connsiteX4" fmla="*/ 1729303 w 1874468"/>
                <a:gd name="connsiteY4" fmla="*/ 0 h 870972"/>
                <a:gd name="connsiteX5" fmla="*/ 1874468 w 1874468"/>
                <a:gd name="connsiteY5" fmla="*/ 145165 h 870972"/>
                <a:gd name="connsiteX6" fmla="*/ 1874468 w 1874468"/>
                <a:gd name="connsiteY6" fmla="*/ 725807 h 870972"/>
                <a:gd name="connsiteX7" fmla="*/ 1729303 w 1874468"/>
                <a:gd name="connsiteY7" fmla="*/ 870972 h 870972"/>
                <a:gd name="connsiteX8" fmla="*/ 1232940 w 1874468"/>
                <a:gd name="connsiteY8" fmla="*/ 870972 h 870972"/>
                <a:gd name="connsiteX9" fmla="*/ 704894 w 1874468"/>
                <a:gd name="connsiteY9" fmla="*/ 870972 h 870972"/>
                <a:gd name="connsiteX10" fmla="*/ 145165 w 1874468"/>
                <a:gd name="connsiteY10" fmla="*/ 870972 h 870972"/>
                <a:gd name="connsiteX11" fmla="*/ 0 w 1874468"/>
                <a:gd name="connsiteY11" fmla="*/ 725807 h 870972"/>
                <a:gd name="connsiteX12" fmla="*/ 0 w 1874468"/>
                <a:gd name="connsiteY12" fmla="*/ 145165 h 870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74468" h="870972" extrusionOk="0">
                  <a:moveTo>
                    <a:pt x="0" y="145165"/>
                  </a:moveTo>
                  <a:cubicBezTo>
                    <a:pt x="-2432" y="63493"/>
                    <a:pt x="60286" y="1767"/>
                    <a:pt x="145165" y="0"/>
                  </a:cubicBezTo>
                  <a:cubicBezTo>
                    <a:pt x="418766" y="25270"/>
                    <a:pt x="471750" y="-10451"/>
                    <a:pt x="704894" y="0"/>
                  </a:cubicBezTo>
                  <a:cubicBezTo>
                    <a:pt x="938038" y="10451"/>
                    <a:pt x="1062432" y="-1934"/>
                    <a:pt x="1217098" y="0"/>
                  </a:cubicBezTo>
                  <a:cubicBezTo>
                    <a:pt x="1371764" y="1934"/>
                    <a:pt x="1560301" y="-9488"/>
                    <a:pt x="1729303" y="0"/>
                  </a:cubicBezTo>
                  <a:cubicBezTo>
                    <a:pt x="1806497" y="-9592"/>
                    <a:pt x="1877814" y="52611"/>
                    <a:pt x="1874468" y="145165"/>
                  </a:cubicBezTo>
                  <a:cubicBezTo>
                    <a:pt x="1878293" y="327905"/>
                    <a:pt x="1864739" y="564412"/>
                    <a:pt x="1874468" y="725807"/>
                  </a:cubicBezTo>
                  <a:cubicBezTo>
                    <a:pt x="1874172" y="803157"/>
                    <a:pt x="1806648" y="874901"/>
                    <a:pt x="1729303" y="870972"/>
                  </a:cubicBezTo>
                  <a:cubicBezTo>
                    <a:pt x="1614608" y="860640"/>
                    <a:pt x="1409140" y="886461"/>
                    <a:pt x="1232940" y="870972"/>
                  </a:cubicBezTo>
                  <a:cubicBezTo>
                    <a:pt x="1056740" y="855483"/>
                    <a:pt x="854686" y="896516"/>
                    <a:pt x="704894" y="870972"/>
                  </a:cubicBezTo>
                  <a:cubicBezTo>
                    <a:pt x="555102" y="845428"/>
                    <a:pt x="282589" y="848216"/>
                    <a:pt x="145165" y="870972"/>
                  </a:cubicBezTo>
                  <a:cubicBezTo>
                    <a:pt x="68869" y="867142"/>
                    <a:pt x="13885" y="797026"/>
                    <a:pt x="0" y="725807"/>
                  </a:cubicBezTo>
                  <a:cubicBezTo>
                    <a:pt x="-19593" y="471953"/>
                    <a:pt x="-15948" y="364265"/>
                    <a:pt x="0" y="145165"/>
                  </a:cubicBezTo>
                  <a:close/>
                </a:path>
              </a:pathLst>
            </a:custGeom>
            <a:noFill/>
            <a:ln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dirty="0">
                  <a:solidFill>
                    <a:srgbClr val="161616"/>
                  </a:solidFill>
                  <a:latin typeface="Segoe UI" panose="020B0502040204020203" pitchFamily="34" charset="0"/>
                </a:rPr>
                <a:t>Rest API</a:t>
              </a:r>
              <a:endParaRPr lang="en-US" i="0" dirty="0">
                <a:solidFill>
                  <a:srgbClr val="161616"/>
                </a:solidFill>
                <a:effectLst/>
                <a:latin typeface="Segoe UI" panose="020B0502040204020203" pitchFamily="34" charset="0"/>
              </a:endParaRPr>
            </a:p>
          </p:txBody>
        </p:sp>
        <p:pic>
          <p:nvPicPr>
            <p:cNvPr id="1030" name="Picture 6">
              <a:extLst>
                <a:ext uri="{FF2B5EF4-FFF2-40B4-BE49-F238E27FC236}">
                  <a16:creationId xmlns:a16="http://schemas.microsoft.com/office/drawing/2014/main" id="{E4117062-387B-DA91-333C-CAF555FA64C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72998" y="2263995"/>
              <a:ext cx="1027073" cy="9981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4" name="Arrow: Right 53">
            <a:extLst>
              <a:ext uri="{FF2B5EF4-FFF2-40B4-BE49-F238E27FC236}">
                <a16:creationId xmlns:a16="http://schemas.microsoft.com/office/drawing/2014/main" id="{1D81764A-EAD3-C3BD-D287-15AAFC28A9FE}"/>
              </a:ext>
            </a:extLst>
          </p:cNvPr>
          <p:cNvSpPr/>
          <p:nvPr/>
        </p:nvSpPr>
        <p:spPr>
          <a:xfrm rot="5400000" flipV="1">
            <a:off x="7767644" y="4254805"/>
            <a:ext cx="283532" cy="293901"/>
          </a:xfrm>
          <a:custGeom>
            <a:avLst/>
            <a:gdLst>
              <a:gd name="connsiteX0" fmla="*/ 0 w 283532"/>
              <a:gd name="connsiteY0" fmla="*/ 73475 h 293901"/>
              <a:gd name="connsiteX1" fmla="*/ 141766 w 283532"/>
              <a:gd name="connsiteY1" fmla="*/ 73475 h 293901"/>
              <a:gd name="connsiteX2" fmla="*/ 141766 w 283532"/>
              <a:gd name="connsiteY2" fmla="*/ 0 h 293901"/>
              <a:gd name="connsiteX3" fmla="*/ 283532 w 283532"/>
              <a:gd name="connsiteY3" fmla="*/ 146951 h 293901"/>
              <a:gd name="connsiteX4" fmla="*/ 141766 w 283532"/>
              <a:gd name="connsiteY4" fmla="*/ 293901 h 293901"/>
              <a:gd name="connsiteX5" fmla="*/ 141766 w 283532"/>
              <a:gd name="connsiteY5" fmla="*/ 220426 h 293901"/>
              <a:gd name="connsiteX6" fmla="*/ 0 w 283532"/>
              <a:gd name="connsiteY6" fmla="*/ 220426 h 293901"/>
              <a:gd name="connsiteX7" fmla="*/ 0 w 283532"/>
              <a:gd name="connsiteY7" fmla="*/ 73475 h 293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3532" h="293901" fill="none" extrusionOk="0">
                <a:moveTo>
                  <a:pt x="0" y="73475"/>
                </a:moveTo>
                <a:cubicBezTo>
                  <a:pt x="41812" y="71548"/>
                  <a:pt x="81662" y="67557"/>
                  <a:pt x="141766" y="73475"/>
                </a:cubicBezTo>
                <a:cubicBezTo>
                  <a:pt x="142619" y="51582"/>
                  <a:pt x="142584" y="23679"/>
                  <a:pt x="141766" y="0"/>
                </a:cubicBezTo>
                <a:cubicBezTo>
                  <a:pt x="189449" y="58484"/>
                  <a:pt x="251994" y="110987"/>
                  <a:pt x="283532" y="146951"/>
                </a:cubicBezTo>
                <a:cubicBezTo>
                  <a:pt x="256082" y="182474"/>
                  <a:pt x="179976" y="247503"/>
                  <a:pt x="141766" y="293901"/>
                </a:cubicBezTo>
                <a:cubicBezTo>
                  <a:pt x="140681" y="266718"/>
                  <a:pt x="140070" y="245963"/>
                  <a:pt x="141766" y="220426"/>
                </a:cubicBezTo>
                <a:cubicBezTo>
                  <a:pt x="111476" y="220322"/>
                  <a:pt x="55292" y="222905"/>
                  <a:pt x="0" y="220426"/>
                </a:cubicBezTo>
                <a:cubicBezTo>
                  <a:pt x="5972" y="187598"/>
                  <a:pt x="1236" y="118312"/>
                  <a:pt x="0" y="73475"/>
                </a:cubicBezTo>
                <a:close/>
              </a:path>
              <a:path w="283532" h="293901" stroke="0" extrusionOk="0">
                <a:moveTo>
                  <a:pt x="0" y="73475"/>
                </a:moveTo>
                <a:cubicBezTo>
                  <a:pt x="50919" y="75191"/>
                  <a:pt x="77424" y="80431"/>
                  <a:pt x="141766" y="73475"/>
                </a:cubicBezTo>
                <a:cubicBezTo>
                  <a:pt x="141984" y="43698"/>
                  <a:pt x="141470" y="20859"/>
                  <a:pt x="141766" y="0"/>
                </a:cubicBezTo>
                <a:cubicBezTo>
                  <a:pt x="180435" y="33596"/>
                  <a:pt x="236569" y="93606"/>
                  <a:pt x="283532" y="146951"/>
                </a:cubicBezTo>
                <a:cubicBezTo>
                  <a:pt x="246139" y="172450"/>
                  <a:pt x="183309" y="238543"/>
                  <a:pt x="141766" y="293901"/>
                </a:cubicBezTo>
                <a:cubicBezTo>
                  <a:pt x="144754" y="262978"/>
                  <a:pt x="142061" y="241441"/>
                  <a:pt x="141766" y="220426"/>
                </a:cubicBezTo>
                <a:cubicBezTo>
                  <a:pt x="106873" y="213743"/>
                  <a:pt x="63896" y="227005"/>
                  <a:pt x="0" y="220426"/>
                </a:cubicBezTo>
                <a:cubicBezTo>
                  <a:pt x="-6576" y="169039"/>
                  <a:pt x="2709" y="114727"/>
                  <a:pt x="0" y="73475"/>
                </a:cubicBezTo>
                <a:close/>
              </a:path>
            </a:pathLst>
          </a:custGeom>
          <a:solidFill>
            <a:srgbClr val="0070C0"/>
          </a:solidFill>
          <a:ln w="25400">
            <a:solidFill>
              <a:srgbClr val="0070C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Arrow: Right 54">
            <a:extLst>
              <a:ext uri="{FF2B5EF4-FFF2-40B4-BE49-F238E27FC236}">
                <a16:creationId xmlns:a16="http://schemas.microsoft.com/office/drawing/2014/main" id="{3C8D4438-8E0F-FCD6-78F8-9DDD2640FEAF}"/>
              </a:ext>
            </a:extLst>
          </p:cNvPr>
          <p:cNvSpPr/>
          <p:nvPr/>
        </p:nvSpPr>
        <p:spPr>
          <a:xfrm rot="2001823" flipV="1">
            <a:off x="6723098" y="3017327"/>
            <a:ext cx="807038" cy="299098"/>
          </a:xfrm>
          <a:custGeom>
            <a:avLst/>
            <a:gdLst>
              <a:gd name="connsiteX0" fmla="*/ 0 w 807038"/>
              <a:gd name="connsiteY0" fmla="*/ 74775 h 299098"/>
              <a:gd name="connsiteX1" fmla="*/ 657489 w 807038"/>
              <a:gd name="connsiteY1" fmla="*/ 74775 h 299098"/>
              <a:gd name="connsiteX2" fmla="*/ 657489 w 807038"/>
              <a:gd name="connsiteY2" fmla="*/ 0 h 299098"/>
              <a:gd name="connsiteX3" fmla="*/ 807038 w 807038"/>
              <a:gd name="connsiteY3" fmla="*/ 149549 h 299098"/>
              <a:gd name="connsiteX4" fmla="*/ 657489 w 807038"/>
              <a:gd name="connsiteY4" fmla="*/ 299098 h 299098"/>
              <a:gd name="connsiteX5" fmla="*/ 657489 w 807038"/>
              <a:gd name="connsiteY5" fmla="*/ 224324 h 299098"/>
              <a:gd name="connsiteX6" fmla="*/ 0 w 807038"/>
              <a:gd name="connsiteY6" fmla="*/ 224324 h 299098"/>
              <a:gd name="connsiteX7" fmla="*/ 0 w 807038"/>
              <a:gd name="connsiteY7" fmla="*/ 74775 h 299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7038" h="299098" fill="none" extrusionOk="0">
                <a:moveTo>
                  <a:pt x="0" y="74775"/>
                </a:moveTo>
                <a:cubicBezTo>
                  <a:pt x="274704" y="57535"/>
                  <a:pt x="397239" y="86005"/>
                  <a:pt x="657489" y="74775"/>
                </a:cubicBezTo>
                <a:cubicBezTo>
                  <a:pt x="659527" y="48964"/>
                  <a:pt x="657844" y="23895"/>
                  <a:pt x="657489" y="0"/>
                </a:cubicBezTo>
                <a:cubicBezTo>
                  <a:pt x="684418" y="33193"/>
                  <a:pt x="776035" y="120040"/>
                  <a:pt x="807038" y="149549"/>
                </a:cubicBezTo>
                <a:cubicBezTo>
                  <a:pt x="745703" y="222948"/>
                  <a:pt x="715908" y="252073"/>
                  <a:pt x="657489" y="299098"/>
                </a:cubicBezTo>
                <a:cubicBezTo>
                  <a:pt x="658515" y="267484"/>
                  <a:pt x="653965" y="241932"/>
                  <a:pt x="657489" y="224324"/>
                </a:cubicBezTo>
                <a:cubicBezTo>
                  <a:pt x="404509" y="200759"/>
                  <a:pt x="147920" y="231491"/>
                  <a:pt x="0" y="224324"/>
                </a:cubicBezTo>
                <a:cubicBezTo>
                  <a:pt x="-1400" y="162665"/>
                  <a:pt x="365" y="118463"/>
                  <a:pt x="0" y="74775"/>
                </a:cubicBezTo>
                <a:close/>
              </a:path>
              <a:path w="807038" h="299098" stroke="0" extrusionOk="0">
                <a:moveTo>
                  <a:pt x="0" y="74775"/>
                </a:moveTo>
                <a:cubicBezTo>
                  <a:pt x="288440" y="86829"/>
                  <a:pt x="454626" y="74275"/>
                  <a:pt x="657489" y="74775"/>
                </a:cubicBezTo>
                <a:cubicBezTo>
                  <a:pt x="655722" y="52924"/>
                  <a:pt x="657603" y="27797"/>
                  <a:pt x="657489" y="0"/>
                </a:cubicBezTo>
                <a:cubicBezTo>
                  <a:pt x="689030" y="41914"/>
                  <a:pt x="756686" y="93253"/>
                  <a:pt x="807038" y="149549"/>
                </a:cubicBezTo>
                <a:cubicBezTo>
                  <a:pt x="780139" y="188905"/>
                  <a:pt x="692246" y="265376"/>
                  <a:pt x="657489" y="299098"/>
                </a:cubicBezTo>
                <a:cubicBezTo>
                  <a:pt x="656830" y="276970"/>
                  <a:pt x="661030" y="240909"/>
                  <a:pt x="657489" y="224324"/>
                </a:cubicBezTo>
                <a:cubicBezTo>
                  <a:pt x="383454" y="215645"/>
                  <a:pt x="322431" y="227256"/>
                  <a:pt x="0" y="224324"/>
                </a:cubicBezTo>
                <a:cubicBezTo>
                  <a:pt x="-1046" y="176175"/>
                  <a:pt x="7245" y="118743"/>
                  <a:pt x="0" y="74775"/>
                </a:cubicBezTo>
                <a:close/>
              </a:path>
            </a:pathLst>
          </a:custGeom>
          <a:solidFill>
            <a:srgbClr val="00B050"/>
          </a:solidFill>
          <a:ln w="25400">
            <a:solidFill>
              <a:srgbClr val="0070C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Arrow: Right 55">
            <a:extLst>
              <a:ext uri="{FF2B5EF4-FFF2-40B4-BE49-F238E27FC236}">
                <a16:creationId xmlns:a16="http://schemas.microsoft.com/office/drawing/2014/main" id="{E7F1A580-12D0-4472-FF1A-F3098997C084}"/>
              </a:ext>
            </a:extLst>
          </p:cNvPr>
          <p:cNvSpPr/>
          <p:nvPr/>
        </p:nvSpPr>
        <p:spPr>
          <a:xfrm flipV="1">
            <a:off x="6699996" y="3640143"/>
            <a:ext cx="742559" cy="311370"/>
          </a:xfrm>
          <a:custGeom>
            <a:avLst/>
            <a:gdLst>
              <a:gd name="connsiteX0" fmla="*/ 0 w 742559"/>
              <a:gd name="connsiteY0" fmla="*/ 77843 h 311370"/>
              <a:gd name="connsiteX1" fmla="*/ 586874 w 742559"/>
              <a:gd name="connsiteY1" fmla="*/ 77843 h 311370"/>
              <a:gd name="connsiteX2" fmla="*/ 586874 w 742559"/>
              <a:gd name="connsiteY2" fmla="*/ 0 h 311370"/>
              <a:gd name="connsiteX3" fmla="*/ 742559 w 742559"/>
              <a:gd name="connsiteY3" fmla="*/ 155685 h 311370"/>
              <a:gd name="connsiteX4" fmla="*/ 586874 w 742559"/>
              <a:gd name="connsiteY4" fmla="*/ 311370 h 311370"/>
              <a:gd name="connsiteX5" fmla="*/ 586874 w 742559"/>
              <a:gd name="connsiteY5" fmla="*/ 233528 h 311370"/>
              <a:gd name="connsiteX6" fmla="*/ 0 w 742559"/>
              <a:gd name="connsiteY6" fmla="*/ 233528 h 311370"/>
              <a:gd name="connsiteX7" fmla="*/ 0 w 742559"/>
              <a:gd name="connsiteY7" fmla="*/ 77843 h 3113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42559" h="311370" fill="none" extrusionOk="0">
                <a:moveTo>
                  <a:pt x="0" y="77843"/>
                </a:moveTo>
                <a:cubicBezTo>
                  <a:pt x="241731" y="95664"/>
                  <a:pt x="300453" y="78426"/>
                  <a:pt x="586874" y="77843"/>
                </a:cubicBezTo>
                <a:cubicBezTo>
                  <a:pt x="585335" y="54991"/>
                  <a:pt x="585404" y="26936"/>
                  <a:pt x="586874" y="0"/>
                </a:cubicBezTo>
                <a:cubicBezTo>
                  <a:pt x="653028" y="58532"/>
                  <a:pt x="688201" y="112350"/>
                  <a:pt x="742559" y="155685"/>
                </a:cubicBezTo>
                <a:cubicBezTo>
                  <a:pt x="677371" y="215915"/>
                  <a:pt x="665336" y="236822"/>
                  <a:pt x="586874" y="311370"/>
                </a:cubicBezTo>
                <a:cubicBezTo>
                  <a:pt x="583441" y="281475"/>
                  <a:pt x="587854" y="252131"/>
                  <a:pt x="586874" y="233528"/>
                </a:cubicBezTo>
                <a:cubicBezTo>
                  <a:pt x="321074" y="232474"/>
                  <a:pt x="153977" y="253480"/>
                  <a:pt x="0" y="233528"/>
                </a:cubicBezTo>
                <a:cubicBezTo>
                  <a:pt x="5076" y="169957"/>
                  <a:pt x="-173" y="137600"/>
                  <a:pt x="0" y="77843"/>
                </a:cubicBezTo>
                <a:close/>
              </a:path>
              <a:path w="742559" h="311370" stroke="0" extrusionOk="0">
                <a:moveTo>
                  <a:pt x="0" y="77843"/>
                </a:moveTo>
                <a:cubicBezTo>
                  <a:pt x="282185" y="53894"/>
                  <a:pt x="442578" y="49175"/>
                  <a:pt x="586874" y="77843"/>
                </a:cubicBezTo>
                <a:cubicBezTo>
                  <a:pt x="589802" y="60912"/>
                  <a:pt x="585846" y="16837"/>
                  <a:pt x="586874" y="0"/>
                </a:cubicBezTo>
                <a:cubicBezTo>
                  <a:pt x="644335" y="53904"/>
                  <a:pt x="706683" y="114156"/>
                  <a:pt x="742559" y="155685"/>
                </a:cubicBezTo>
                <a:cubicBezTo>
                  <a:pt x="671751" y="227083"/>
                  <a:pt x="643991" y="243908"/>
                  <a:pt x="586874" y="311370"/>
                </a:cubicBezTo>
                <a:cubicBezTo>
                  <a:pt x="586638" y="289274"/>
                  <a:pt x="583431" y="259805"/>
                  <a:pt x="586874" y="233528"/>
                </a:cubicBezTo>
                <a:cubicBezTo>
                  <a:pt x="345025" y="254085"/>
                  <a:pt x="246747" y="239828"/>
                  <a:pt x="0" y="233528"/>
                </a:cubicBezTo>
                <a:cubicBezTo>
                  <a:pt x="-7256" y="185133"/>
                  <a:pt x="5465" y="131611"/>
                  <a:pt x="0" y="77843"/>
                </a:cubicBezTo>
                <a:close/>
              </a:path>
            </a:pathLst>
          </a:custGeom>
          <a:solidFill>
            <a:srgbClr val="E41212"/>
          </a:solidFill>
          <a:ln w="25400">
            <a:solidFill>
              <a:srgbClr val="0070C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Arrow: Right 56">
            <a:extLst>
              <a:ext uri="{FF2B5EF4-FFF2-40B4-BE49-F238E27FC236}">
                <a16:creationId xmlns:a16="http://schemas.microsoft.com/office/drawing/2014/main" id="{9A04545B-9CB7-33F0-FBF0-DB471E339494}"/>
              </a:ext>
            </a:extLst>
          </p:cNvPr>
          <p:cNvSpPr/>
          <p:nvPr/>
        </p:nvSpPr>
        <p:spPr>
          <a:xfrm rot="19136335" flipV="1">
            <a:off x="6680888" y="4327350"/>
            <a:ext cx="807038" cy="299098"/>
          </a:xfrm>
          <a:custGeom>
            <a:avLst/>
            <a:gdLst>
              <a:gd name="connsiteX0" fmla="*/ 0 w 807038"/>
              <a:gd name="connsiteY0" fmla="*/ 74775 h 299098"/>
              <a:gd name="connsiteX1" fmla="*/ 657489 w 807038"/>
              <a:gd name="connsiteY1" fmla="*/ 74775 h 299098"/>
              <a:gd name="connsiteX2" fmla="*/ 657489 w 807038"/>
              <a:gd name="connsiteY2" fmla="*/ 0 h 299098"/>
              <a:gd name="connsiteX3" fmla="*/ 807038 w 807038"/>
              <a:gd name="connsiteY3" fmla="*/ 149549 h 299098"/>
              <a:gd name="connsiteX4" fmla="*/ 657489 w 807038"/>
              <a:gd name="connsiteY4" fmla="*/ 299098 h 299098"/>
              <a:gd name="connsiteX5" fmla="*/ 657489 w 807038"/>
              <a:gd name="connsiteY5" fmla="*/ 224324 h 299098"/>
              <a:gd name="connsiteX6" fmla="*/ 0 w 807038"/>
              <a:gd name="connsiteY6" fmla="*/ 224324 h 299098"/>
              <a:gd name="connsiteX7" fmla="*/ 0 w 807038"/>
              <a:gd name="connsiteY7" fmla="*/ 74775 h 299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7038" h="299098" fill="none" extrusionOk="0">
                <a:moveTo>
                  <a:pt x="0" y="74775"/>
                </a:moveTo>
                <a:cubicBezTo>
                  <a:pt x="274704" y="57535"/>
                  <a:pt x="397239" y="86005"/>
                  <a:pt x="657489" y="74775"/>
                </a:cubicBezTo>
                <a:cubicBezTo>
                  <a:pt x="659527" y="48964"/>
                  <a:pt x="657844" y="23895"/>
                  <a:pt x="657489" y="0"/>
                </a:cubicBezTo>
                <a:cubicBezTo>
                  <a:pt x="684418" y="33193"/>
                  <a:pt x="776035" y="120040"/>
                  <a:pt x="807038" y="149549"/>
                </a:cubicBezTo>
                <a:cubicBezTo>
                  <a:pt x="745703" y="222948"/>
                  <a:pt x="715908" y="252073"/>
                  <a:pt x="657489" y="299098"/>
                </a:cubicBezTo>
                <a:cubicBezTo>
                  <a:pt x="658515" y="267484"/>
                  <a:pt x="653965" y="241932"/>
                  <a:pt x="657489" y="224324"/>
                </a:cubicBezTo>
                <a:cubicBezTo>
                  <a:pt x="404509" y="200759"/>
                  <a:pt x="147920" y="231491"/>
                  <a:pt x="0" y="224324"/>
                </a:cubicBezTo>
                <a:cubicBezTo>
                  <a:pt x="-1400" y="162665"/>
                  <a:pt x="365" y="118463"/>
                  <a:pt x="0" y="74775"/>
                </a:cubicBezTo>
                <a:close/>
              </a:path>
              <a:path w="807038" h="299098" stroke="0" extrusionOk="0">
                <a:moveTo>
                  <a:pt x="0" y="74775"/>
                </a:moveTo>
                <a:cubicBezTo>
                  <a:pt x="288440" y="86829"/>
                  <a:pt x="454626" y="74275"/>
                  <a:pt x="657489" y="74775"/>
                </a:cubicBezTo>
                <a:cubicBezTo>
                  <a:pt x="655722" y="52924"/>
                  <a:pt x="657603" y="27797"/>
                  <a:pt x="657489" y="0"/>
                </a:cubicBezTo>
                <a:cubicBezTo>
                  <a:pt x="689030" y="41914"/>
                  <a:pt x="756686" y="93253"/>
                  <a:pt x="807038" y="149549"/>
                </a:cubicBezTo>
                <a:cubicBezTo>
                  <a:pt x="780139" y="188905"/>
                  <a:pt x="692246" y="265376"/>
                  <a:pt x="657489" y="299098"/>
                </a:cubicBezTo>
                <a:cubicBezTo>
                  <a:pt x="656830" y="276970"/>
                  <a:pt x="661030" y="240909"/>
                  <a:pt x="657489" y="224324"/>
                </a:cubicBezTo>
                <a:cubicBezTo>
                  <a:pt x="383454" y="215645"/>
                  <a:pt x="322431" y="227256"/>
                  <a:pt x="0" y="224324"/>
                </a:cubicBezTo>
                <a:cubicBezTo>
                  <a:pt x="-1046" y="176175"/>
                  <a:pt x="7245" y="118743"/>
                  <a:pt x="0" y="74775"/>
                </a:cubicBezTo>
                <a:close/>
              </a:path>
            </a:pathLst>
          </a:custGeom>
          <a:solidFill>
            <a:srgbClr val="00B050"/>
          </a:solidFill>
          <a:ln w="25400">
            <a:solidFill>
              <a:srgbClr val="0070C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Arrow: Right 57">
            <a:extLst>
              <a:ext uri="{FF2B5EF4-FFF2-40B4-BE49-F238E27FC236}">
                <a16:creationId xmlns:a16="http://schemas.microsoft.com/office/drawing/2014/main" id="{685A6F23-2187-BFF8-8A15-BE13EC6596C8}"/>
              </a:ext>
            </a:extLst>
          </p:cNvPr>
          <p:cNvSpPr/>
          <p:nvPr/>
        </p:nvSpPr>
        <p:spPr>
          <a:xfrm rot="13655532" flipV="1">
            <a:off x="8182314" y="4339388"/>
            <a:ext cx="807038" cy="299098"/>
          </a:xfrm>
          <a:custGeom>
            <a:avLst/>
            <a:gdLst>
              <a:gd name="connsiteX0" fmla="*/ 0 w 807038"/>
              <a:gd name="connsiteY0" fmla="*/ 74775 h 299098"/>
              <a:gd name="connsiteX1" fmla="*/ 657489 w 807038"/>
              <a:gd name="connsiteY1" fmla="*/ 74775 h 299098"/>
              <a:gd name="connsiteX2" fmla="*/ 657489 w 807038"/>
              <a:gd name="connsiteY2" fmla="*/ 0 h 299098"/>
              <a:gd name="connsiteX3" fmla="*/ 807038 w 807038"/>
              <a:gd name="connsiteY3" fmla="*/ 149549 h 299098"/>
              <a:gd name="connsiteX4" fmla="*/ 657489 w 807038"/>
              <a:gd name="connsiteY4" fmla="*/ 299098 h 299098"/>
              <a:gd name="connsiteX5" fmla="*/ 657489 w 807038"/>
              <a:gd name="connsiteY5" fmla="*/ 224324 h 299098"/>
              <a:gd name="connsiteX6" fmla="*/ 0 w 807038"/>
              <a:gd name="connsiteY6" fmla="*/ 224324 h 299098"/>
              <a:gd name="connsiteX7" fmla="*/ 0 w 807038"/>
              <a:gd name="connsiteY7" fmla="*/ 74775 h 299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7038" h="299098" fill="none" extrusionOk="0">
                <a:moveTo>
                  <a:pt x="0" y="74775"/>
                </a:moveTo>
                <a:cubicBezTo>
                  <a:pt x="274704" y="57535"/>
                  <a:pt x="397239" y="86005"/>
                  <a:pt x="657489" y="74775"/>
                </a:cubicBezTo>
                <a:cubicBezTo>
                  <a:pt x="659527" y="48964"/>
                  <a:pt x="657844" y="23895"/>
                  <a:pt x="657489" y="0"/>
                </a:cubicBezTo>
                <a:cubicBezTo>
                  <a:pt x="684418" y="33193"/>
                  <a:pt x="776035" y="120040"/>
                  <a:pt x="807038" y="149549"/>
                </a:cubicBezTo>
                <a:cubicBezTo>
                  <a:pt x="745703" y="222948"/>
                  <a:pt x="715908" y="252073"/>
                  <a:pt x="657489" y="299098"/>
                </a:cubicBezTo>
                <a:cubicBezTo>
                  <a:pt x="658515" y="267484"/>
                  <a:pt x="653965" y="241932"/>
                  <a:pt x="657489" y="224324"/>
                </a:cubicBezTo>
                <a:cubicBezTo>
                  <a:pt x="404509" y="200759"/>
                  <a:pt x="147920" y="231491"/>
                  <a:pt x="0" y="224324"/>
                </a:cubicBezTo>
                <a:cubicBezTo>
                  <a:pt x="-1400" y="162665"/>
                  <a:pt x="365" y="118463"/>
                  <a:pt x="0" y="74775"/>
                </a:cubicBezTo>
                <a:close/>
              </a:path>
              <a:path w="807038" h="299098" stroke="0" extrusionOk="0">
                <a:moveTo>
                  <a:pt x="0" y="74775"/>
                </a:moveTo>
                <a:cubicBezTo>
                  <a:pt x="288440" y="86829"/>
                  <a:pt x="454626" y="74275"/>
                  <a:pt x="657489" y="74775"/>
                </a:cubicBezTo>
                <a:cubicBezTo>
                  <a:pt x="655722" y="52924"/>
                  <a:pt x="657603" y="27797"/>
                  <a:pt x="657489" y="0"/>
                </a:cubicBezTo>
                <a:cubicBezTo>
                  <a:pt x="689030" y="41914"/>
                  <a:pt x="756686" y="93253"/>
                  <a:pt x="807038" y="149549"/>
                </a:cubicBezTo>
                <a:cubicBezTo>
                  <a:pt x="780139" y="188905"/>
                  <a:pt x="692246" y="265376"/>
                  <a:pt x="657489" y="299098"/>
                </a:cubicBezTo>
                <a:cubicBezTo>
                  <a:pt x="656830" y="276970"/>
                  <a:pt x="661030" y="240909"/>
                  <a:pt x="657489" y="224324"/>
                </a:cubicBezTo>
                <a:cubicBezTo>
                  <a:pt x="383454" y="215645"/>
                  <a:pt x="322431" y="227256"/>
                  <a:pt x="0" y="224324"/>
                </a:cubicBezTo>
                <a:cubicBezTo>
                  <a:pt x="-1046" y="176175"/>
                  <a:pt x="7245" y="118743"/>
                  <a:pt x="0" y="74775"/>
                </a:cubicBezTo>
                <a:close/>
              </a:path>
            </a:pathLst>
          </a:custGeom>
          <a:solidFill>
            <a:srgbClr val="00B050"/>
          </a:solidFill>
          <a:ln w="25400">
            <a:solidFill>
              <a:srgbClr val="0070C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Arrow: Right 58">
            <a:extLst>
              <a:ext uri="{FF2B5EF4-FFF2-40B4-BE49-F238E27FC236}">
                <a16:creationId xmlns:a16="http://schemas.microsoft.com/office/drawing/2014/main" id="{9099542B-3D99-ECCA-0D45-C72DC8FC5E36}"/>
              </a:ext>
            </a:extLst>
          </p:cNvPr>
          <p:cNvSpPr/>
          <p:nvPr/>
        </p:nvSpPr>
        <p:spPr>
          <a:xfrm rot="8917919" flipV="1">
            <a:off x="8360521" y="2876983"/>
            <a:ext cx="560549" cy="312948"/>
          </a:xfrm>
          <a:custGeom>
            <a:avLst/>
            <a:gdLst>
              <a:gd name="connsiteX0" fmla="*/ 0 w 560549"/>
              <a:gd name="connsiteY0" fmla="*/ 78237 h 312948"/>
              <a:gd name="connsiteX1" fmla="*/ 404075 w 560549"/>
              <a:gd name="connsiteY1" fmla="*/ 78237 h 312948"/>
              <a:gd name="connsiteX2" fmla="*/ 404075 w 560549"/>
              <a:gd name="connsiteY2" fmla="*/ 0 h 312948"/>
              <a:gd name="connsiteX3" fmla="*/ 560549 w 560549"/>
              <a:gd name="connsiteY3" fmla="*/ 156474 h 312948"/>
              <a:gd name="connsiteX4" fmla="*/ 404075 w 560549"/>
              <a:gd name="connsiteY4" fmla="*/ 312948 h 312948"/>
              <a:gd name="connsiteX5" fmla="*/ 404075 w 560549"/>
              <a:gd name="connsiteY5" fmla="*/ 234711 h 312948"/>
              <a:gd name="connsiteX6" fmla="*/ 0 w 560549"/>
              <a:gd name="connsiteY6" fmla="*/ 234711 h 312948"/>
              <a:gd name="connsiteX7" fmla="*/ 0 w 560549"/>
              <a:gd name="connsiteY7" fmla="*/ 78237 h 312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0549" h="312948" fill="none" extrusionOk="0">
                <a:moveTo>
                  <a:pt x="0" y="78237"/>
                </a:moveTo>
                <a:cubicBezTo>
                  <a:pt x="87627" y="94770"/>
                  <a:pt x="216511" y="93760"/>
                  <a:pt x="404075" y="78237"/>
                </a:cubicBezTo>
                <a:cubicBezTo>
                  <a:pt x="402433" y="56871"/>
                  <a:pt x="400537" y="29966"/>
                  <a:pt x="404075" y="0"/>
                </a:cubicBezTo>
                <a:cubicBezTo>
                  <a:pt x="463033" y="58118"/>
                  <a:pt x="511860" y="104543"/>
                  <a:pt x="560549" y="156474"/>
                </a:cubicBezTo>
                <a:cubicBezTo>
                  <a:pt x="516080" y="212185"/>
                  <a:pt x="446772" y="263894"/>
                  <a:pt x="404075" y="312948"/>
                </a:cubicBezTo>
                <a:cubicBezTo>
                  <a:pt x="407773" y="279223"/>
                  <a:pt x="404459" y="255917"/>
                  <a:pt x="404075" y="234711"/>
                </a:cubicBezTo>
                <a:cubicBezTo>
                  <a:pt x="243762" y="241424"/>
                  <a:pt x="165785" y="240921"/>
                  <a:pt x="0" y="234711"/>
                </a:cubicBezTo>
                <a:cubicBezTo>
                  <a:pt x="-5326" y="187794"/>
                  <a:pt x="-2901" y="148671"/>
                  <a:pt x="0" y="78237"/>
                </a:cubicBezTo>
                <a:close/>
              </a:path>
              <a:path w="560549" h="312948" stroke="0" extrusionOk="0">
                <a:moveTo>
                  <a:pt x="0" y="78237"/>
                </a:moveTo>
                <a:cubicBezTo>
                  <a:pt x="197198" y="93535"/>
                  <a:pt x="214325" y="76948"/>
                  <a:pt x="404075" y="78237"/>
                </a:cubicBezTo>
                <a:cubicBezTo>
                  <a:pt x="406613" y="42379"/>
                  <a:pt x="400834" y="26459"/>
                  <a:pt x="404075" y="0"/>
                </a:cubicBezTo>
                <a:cubicBezTo>
                  <a:pt x="474785" y="73399"/>
                  <a:pt x="481666" y="80945"/>
                  <a:pt x="560549" y="156474"/>
                </a:cubicBezTo>
                <a:cubicBezTo>
                  <a:pt x="506308" y="215934"/>
                  <a:pt x="456681" y="264595"/>
                  <a:pt x="404075" y="312948"/>
                </a:cubicBezTo>
                <a:cubicBezTo>
                  <a:pt x="407642" y="280414"/>
                  <a:pt x="405696" y="250631"/>
                  <a:pt x="404075" y="234711"/>
                </a:cubicBezTo>
                <a:cubicBezTo>
                  <a:pt x="259426" y="215940"/>
                  <a:pt x="112613" y="230546"/>
                  <a:pt x="0" y="234711"/>
                </a:cubicBezTo>
                <a:cubicBezTo>
                  <a:pt x="-6935" y="167277"/>
                  <a:pt x="5087" y="145029"/>
                  <a:pt x="0" y="78237"/>
                </a:cubicBezTo>
                <a:close/>
              </a:path>
            </a:pathLst>
          </a:custGeom>
          <a:solidFill>
            <a:srgbClr val="00B050"/>
          </a:solidFill>
          <a:ln w="25400">
            <a:solidFill>
              <a:srgbClr val="0070C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Arrow: Right 59">
            <a:extLst>
              <a:ext uri="{FF2B5EF4-FFF2-40B4-BE49-F238E27FC236}">
                <a16:creationId xmlns:a16="http://schemas.microsoft.com/office/drawing/2014/main" id="{9408F589-6BF4-4E88-CF86-007C2CC4C51E}"/>
              </a:ext>
            </a:extLst>
          </p:cNvPr>
          <p:cNvSpPr/>
          <p:nvPr/>
        </p:nvSpPr>
        <p:spPr>
          <a:xfrm rot="10800000" flipV="1">
            <a:off x="8370351" y="3474844"/>
            <a:ext cx="493035" cy="381508"/>
          </a:xfrm>
          <a:custGeom>
            <a:avLst/>
            <a:gdLst>
              <a:gd name="connsiteX0" fmla="*/ 0 w 493035"/>
              <a:gd name="connsiteY0" fmla="*/ 95377 h 381508"/>
              <a:gd name="connsiteX1" fmla="*/ 302281 w 493035"/>
              <a:gd name="connsiteY1" fmla="*/ 95377 h 381508"/>
              <a:gd name="connsiteX2" fmla="*/ 302281 w 493035"/>
              <a:gd name="connsiteY2" fmla="*/ 0 h 381508"/>
              <a:gd name="connsiteX3" fmla="*/ 493035 w 493035"/>
              <a:gd name="connsiteY3" fmla="*/ 190754 h 381508"/>
              <a:gd name="connsiteX4" fmla="*/ 302281 w 493035"/>
              <a:gd name="connsiteY4" fmla="*/ 381508 h 381508"/>
              <a:gd name="connsiteX5" fmla="*/ 302281 w 493035"/>
              <a:gd name="connsiteY5" fmla="*/ 286131 h 381508"/>
              <a:gd name="connsiteX6" fmla="*/ 0 w 493035"/>
              <a:gd name="connsiteY6" fmla="*/ 286131 h 381508"/>
              <a:gd name="connsiteX7" fmla="*/ 0 w 493035"/>
              <a:gd name="connsiteY7" fmla="*/ 95377 h 381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3035" h="381508" fill="none" extrusionOk="0">
                <a:moveTo>
                  <a:pt x="0" y="95377"/>
                </a:moveTo>
                <a:cubicBezTo>
                  <a:pt x="128562" y="97836"/>
                  <a:pt x="187764" y="106999"/>
                  <a:pt x="302281" y="95377"/>
                </a:cubicBezTo>
                <a:cubicBezTo>
                  <a:pt x="306080" y="57155"/>
                  <a:pt x="304101" y="42206"/>
                  <a:pt x="302281" y="0"/>
                </a:cubicBezTo>
                <a:cubicBezTo>
                  <a:pt x="373383" y="53600"/>
                  <a:pt x="448795" y="152320"/>
                  <a:pt x="493035" y="190754"/>
                </a:cubicBezTo>
                <a:cubicBezTo>
                  <a:pt x="416013" y="256249"/>
                  <a:pt x="387986" y="282617"/>
                  <a:pt x="302281" y="381508"/>
                </a:cubicBezTo>
                <a:cubicBezTo>
                  <a:pt x="306189" y="336975"/>
                  <a:pt x="299327" y="310016"/>
                  <a:pt x="302281" y="286131"/>
                </a:cubicBezTo>
                <a:cubicBezTo>
                  <a:pt x="174005" y="272712"/>
                  <a:pt x="117761" y="271941"/>
                  <a:pt x="0" y="286131"/>
                </a:cubicBezTo>
                <a:cubicBezTo>
                  <a:pt x="-980" y="219966"/>
                  <a:pt x="-6360" y="175301"/>
                  <a:pt x="0" y="95377"/>
                </a:cubicBezTo>
                <a:close/>
              </a:path>
              <a:path w="493035" h="381508" stroke="0" extrusionOk="0">
                <a:moveTo>
                  <a:pt x="0" y="95377"/>
                </a:moveTo>
                <a:cubicBezTo>
                  <a:pt x="70059" y="100114"/>
                  <a:pt x="217974" y="109876"/>
                  <a:pt x="302281" y="95377"/>
                </a:cubicBezTo>
                <a:cubicBezTo>
                  <a:pt x="301673" y="71827"/>
                  <a:pt x="297901" y="28531"/>
                  <a:pt x="302281" y="0"/>
                </a:cubicBezTo>
                <a:cubicBezTo>
                  <a:pt x="346269" y="39859"/>
                  <a:pt x="406782" y="96029"/>
                  <a:pt x="493035" y="190754"/>
                </a:cubicBezTo>
                <a:cubicBezTo>
                  <a:pt x="417556" y="259791"/>
                  <a:pt x="372616" y="304959"/>
                  <a:pt x="302281" y="381508"/>
                </a:cubicBezTo>
                <a:cubicBezTo>
                  <a:pt x="307008" y="347186"/>
                  <a:pt x="297546" y="316069"/>
                  <a:pt x="302281" y="286131"/>
                </a:cubicBezTo>
                <a:cubicBezTo>
                  <a:pt x="223481" y="282612"/>
                  <a:pt x="74081" y="300264"/>
                  <a:pt x="0" y="286131"/>
                </a:cubicBezTo>
                <a:cubicBezTo>
                  <a:pt x="2557" y="239460"/>
                  <a:pt x="-3678" y="179687"/>
                  <a:pt x="0" y="95377"/>
                </a:cubicBezTo>
                <a:close/>
              </a:path>
            </a:pathLst>
          </a:custGeom>
          <a:solidFill>
            <a:srgbClr val="00B050"/>
          </a:solidFill>
          <a:ln w="25400">
            <a:solidFill>
              <a:srgbClr val="0070C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509495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Template Specs UI </a:t>
            </a:r>
            <a:r>
              <a:rPr lang="en-US" b="1" dirty="0"/>
              <a:t>Composition</a:t>
            </a:r>
            <a:endParaRPr lang="en-US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1418318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2000" dirty="0"/>
              <a:t>But what about more complex deployments, like Applications that consists of multiple standardized resources?</a:t>
            </a:r>
          </a:p>
          <a:p>
            <a:pPr>
              <a:buFontTx/>
              <a:buChar char="-"/>
            </a:pPr>
            <a:r>
              <a:rPr lang="en-US" sz="2000" b="1" dirty="0">
                <a:solidFill>
                  <a:srgbClr val="FF0000"/>
                </a:solidFill>
              </a:rPr>
              <a:t>Use UI Tabs as composition elements</a:t>
            </a:r>
          </a:p>
          <a:p>
            <a:pPr>
              <a:buFontTx/>
              <a:buChar char="-"/>
            </a:pPr>
            <a:r>
              <a:rPr lang="en-US" sz="2000" b="1" dirty="0">
                <a:solidFill>
                  <a:srgbClr val="FF0000"/>
                </a:solidFill>
              </a:rPr>
              <a:t>Use Resource Template Spec's bicep files as modules in the Application bicep fi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3D019DA-DE66-02B0-3E87-8A0637A9E889}"/>
              </a:ext>
            </a:extLst>
          </p:cNvPr>
          <p:cNvGrpSpPr/>
          <p:nvPr/>
        </p:nvGrpSpPr>
        <p:grpSpPr>
          <a:xfrm>
            <a:off x="9165984" y="3218836"/>
            <a:ext cx="2638047" cy="2873312"/>
            <a:chOff x="8065864" y="3428999"/>
            <a:chExt cx="2638047" cy="2873312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DC17690F-C13F-928C-B174-184391D4594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065864" y="3428999"/>
              <a:ext cx="2638047" cy="2873312"/>
            </a:xfrm>
            <a:prstGeom prst="rect">
              <a:avLst/>
            </a:prstGeom>
          </p:spPr>
        </p:pic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0A6C0EBF-797C-EC6D-5357-449FB8D33528}"/>
                </a:ext>
              </a:extLst>
            </p:cNvPr>
            <p:cNvSpPr/>
            <p:nvPr/>
          </p:nvSpPr>
          <p:spPr>
            <a:xfrm>
              <a:off x="8065864" y="4333241"/>
              <a:ext cx="377096" cy="223520"/>
            </a:xfrm>
            <a:custGeom>
              <a:avLst/>
              <a:gdLst>
                <a:gd name="connsiteX0" fmla="*/ 0 w 377096"/>
                <a:gd name="connsiteY0" fmla="*/ 37254 h 223520"/>
                <a:gd name="connsiteX1" fmla="*/ 37254 w 377096"/>
                <a:gd name="connsiteY1" fmla="*/ 0 h 223520"/>
                <a:gd name="connsiteX2" fmla="*/ 339842 w 377096"/>
                <a:gd name="connsiteY2" fmla="*/ 0 h 223520"/>
                <a:gd name="connsiteX3" fmla="*/ 377096 w 377096"/>
                <a:gd name="connsiteY3" fmla="*/ 37254 h 223520"/>
                <a:gd name="connsiteX4" fmla="*/ 377096 w 377096"/>
                <a:gd name="connsiteY4" fmla="*/ 186266 h 223520"/>
                <a:gd name="connsiteX5" fmla="*/ 339842 w 377096"/>
                <a:gd name="connsiteY5" fmla="*/ 223520 h 223520"/>
                <a:gd name="connsiteX6" fmla="*/ 37254 w 377096"/>
                <a:gd name="connsiteY6" fmla="*/ 223520 h 223520"/>
                <a:gd name="connsiteX7" fmla="*/ 0 w 377096"/>
                <a:gd name="connsiteY7" fmla="*/ 186266 h 223520"/>
                <a:gd name="connsiteX8" fmla="*/ 0 w 377096"/>
                <a:gd name="connsiteY8" fmla="*/ 37254 h 223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77096" h="223520" extrusionOk="0">
                  <a:moveTo>
                    <a:pt x="0" y="37254"/>
                  </a:moveTo>
                  <a:cubicBezTo>
                    <a:pt x="-3796" y="14338"/>
                    <a:pt x="14371" y="866"/>
                    <a:pt x="37254" y="0"/>
                  </a:cubicBezTo>
                  <a:cubicBezTo>
                    <a:pt x="106733" y="12032"/>
                    <a:pt x="196691" y="14560"/>
                    <a:pt x="339842" y="0"/>
                  </a:cubicBezTo>
                  <a:cubicBezTo>
                    <a:pt x="357804" y="-1988"/>
                    <a:pt x="375143" y="20688"/>
                    <a:pt x="377096" y="37254"/>
                  </a:cubicBezTo>
                  <a:cubicBezTo>
                    <a:pt x="379978" y="91669"/>
                    <a:pt x="373190" y="150656"/>
                    <a:pt x="377096" y="186266"/>
                  </a:cubicBezTo>
                  <a:cubicBezTo>
                    <a:pt x="377667" y="205666"/>
                    <a:pt x="358753" y="223265"/>
                    <a:pt x="339842" y="223520"/>
                  </a:cubicBezTo>
                  <a:cubicBezTo>
                    <a:pt x="262464" y="235135"/>
                    <a:pt x="129051" y="237803"/>
                    <a:pt x="37254" y="223520"/>
                  </a:cubicBezTo>
                  <a:cubicBezTo>
                    <a:pt x="16310" y="224130"/>
                    <a:pt x="-2928" y="203444"/>
                    <a:pt x="0" y="186266"/>
                  </a:cubicBezTo>
                  <a:cubicBezTo>
                    <a:pt x="4422" y="148477"/>
                    <a:pt x="289" y="97045"/>
                    <a:pt x="0" y="37254"/>
                  </a:cubicBezTo>
                  <a:close/>
                </a:path>
              </a:pathLst>
            </a:custGeom>
            <a:noFill/>
            <a:ln w="25400">
              <a:solidFill>
                <a:srgbClr val="FF0000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F357BB0D-3AE2-E8D9-3B58-F694EFD98A33}"/>
                </a:ext>
              </a:extLst>
            </p:cNvPr>
            <p:cNvSpPr/>
            <p:nvPr/>
          </p:nvSpPr>
          <p:spPr>
            <a:xfrm>
              <a:off x="8487927" y="4333241"/>
              <a:ext cx="377096" cy="223520"/>
            </a:xfrm>
            <a:custGeom>
              <a:avLst/>
              <a:gdLst>
                <a:gd name="connsiteX0" fmla="*/ 0 w 377096"/>
                <a:gd name="connsiteY0" fmla="*/ 37254 h 223520"/>
                <a:gd name="connsiteX1" fmla="*/ 37254 w 377096"/>
                <a:gd name="connsiteY1" fmla="*/ 0 h 223520"/>
                <a:gd name="connsiteX2" fmla="*/ 339842 w 377096"/>
                <a:gd name="connsiteY2" fmla="*/ 0 h 223520"/>
                <a:gd name="connsiteX3" fmla="*/ 377096 w 377096"/>
                <a:gd name="connsiteY3" fmla="*/ 37254 h 223520"/>
                <a:gd name="connsiteX4" fmla="*/ 377096 w 377096"/>
                <a:gd name="connsiteY4" fmla="*/ 186266 h 223520"/>
                <a:gd name="connsiteX5" fmla="*/ 339842 w 377096"/>
                <a:gd name="connsiteY5" fmla="*/ 223520 h 223520"/>
                <a:gd name="connsiteX6" fmla="*/ 37254 w 377096"/>
                <a:gd name="connsiteY6" fmla="*/ 223520 h 223520"/>
                <a:gd name="connsiteX7" fmla="*/ 0 w 377096"/>
                <a:gd name="connsiteY7" fmla="*/ 186266 h 223520"/>
                <a:gd name="connsiteX8" fmla="*/ 0 w 377096"/>
                <a:gd name="connsiteY8" fmla="*/ 37254 h 223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77096" h="223520" extrusionOk="0">
                  <a:moveTo>
                    <a:pt x="0" y="37254"/>
                  </a:moveTo>
                  <a:cubicBezTo>
                    <a:pt x="-3796" y="14338"/>
                    <a:pt x="14371" y="866"/>
                    <a:pt x="37254" y="0"/>
                  </a:cubicBezTo>
                  <a:cubicBezTo>
                    <a:pt x="106733" y="12032"/>
                    <a:pt x="196691" y="14560"/>
                    <a:pt x="339842" y="0"/>
                  </a:cubicBezTo>
                  <a:cubicBezTo>
                    <a:pt x="357804" y="-1988"/>
                    <a:pt x="375143" y="20688"/>
                    <a:pt x="377096" y="37254"/>
                  </a:cubicBezTo>
                  <a:cubicBezTo>
                    <a:pt x="379978" y="91669"/>
                    <a:pt x="373190" y="150656"/>
                    <a:pt x="377096" y="186266"/>
                  </a:cubicBezTo>
                  <a:cubicBezTo>
                    <a:pt x="377667" y="205666"/>
                    <a:pt x="358753" y="223265"/>
                    <a:pt x="339842" y="223520"/>
                  </a:cubicBezTo>
                  <a:cubicBezTo>
                    <a:pt x="262464" y="235135"/>
                    <a:pt x="129051" y="237803"/>
                    <a:pt x="37254" y="223520"/>
                  </a:cubicBezTo>
                  <a:cubicBezTo>
                    <a:pt x="16310" y="224130"/>
                    <a:pt x="-2928" y="203444"/>
                    <a:pt x="0" y="186266"/>
                  </a:cubicBezTo>
                  <a:cubicBezTo>
                    <a:pt x="4422" y="148477"/>
                    <a:pt x="289" y="97045"/>
                    <a:pt x="0" y="37254"/>
                  </a:cubicBezTo>
                  <a:close/>
                </a:path>
              </a:pathLst>
            </a:custGeom>
            <a:noFill/>
            <a:ln w="25400">
              <a:solidFill>
                <a:srgbClr val="FF0000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/>
              <a:endParaRPr lang="en-US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E893DE28-BE3B-5EFC-C998-14A2561C5345}"/>
              </a:ext>
            </a:extLst>
          </p:cNvPr>
          <p:cNvGrpSpPr/>
          <p:nvPr/>
        </p:nvGrpSpPr>
        <p:grpSpPr>
          <a:xfrm>
            <a:off x="369313" y="3231390"/>
            <a:ext cx="2033186" cy="2873311"/>
            <a:chOff x="517991" y="3243943"/>
            <a:chExt cx="2091304" cy="2873311"/>
          </a:xfrm>
        </p:grpSpPr>
        <p:pic>
          <p:nvPicPr>
            <p:cNvPr id="5" name="Picture 2">
              <a:extLst>
                <a:ext uri="{FF2B5EF4-FFF2-40B4-BE49-F238E27FC236}">
                  <a16:creationId xmlns:a16="http://schemas.microsoft.com/office/drawing/2014/main" id="{8E29DE59-FAAE-1E26-3561-A67776339D4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4243" y="3243943"/>
              <a:ext cx="783141" cy="7831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E450B6F6-E2D1-8332-8759-B0D42BE716BF}"/>
                </a:ext>
              </a:extLst>
            </p:cNvPr>
            <p:cNvSpPr/>
            <p:nvPr/>
          </p:nvSpPr>
          <p:spPr>
            <a:xfrm>
              <a:off x="564244" y="3243943"/>
              <a:ext cx="2003193" cy="2873311"/>
            </a:xfrm>
            <a:custGeom>
              <a:avLst/>
              <a:gdLst>
                <a:gd name="connsiteX0" fmla="*/ 0 w 2003193"/>
                <a:gd name="connsiteY0" fmla="*/ 333872 h 2873311"/>
                <a:gd name="connsiteX1" fmla="*/ 333872 w 2003193"/>
                <a:gd name="connsiteY1" fmla="*/ 0 h 2873311"/>
                <a:gd name="connsiteX2" fmla="*/ 1028305 w 2003193"/>
                <a:gd name="connsiteY2" fmla="*/ 0 h 2873311"/>
                <a:gd name="connsiteX3" fmla="*/ 1669321 w 2003193"/>
                <a:gd name="connsiteY3" fmla="*/ 0 h 2873311"/>
                <a:gd name="connsiteX4" fmla="*/ 2003193 w 2003193"/>
                <a:gd name="connsiteY4" fmla="*/ 333872 h 2873311"/>
                <a:gd name="connsiteX5" fmla="*/ 2003193 w 2003193"/>
                <a:gd name="connsiteY5" fmla="*/ 841152 h 2873311"/>
                <a:gd name="connsiteX6" fmla="*/ 2003193 w 2003193"/>
                <a:gd name="connsiteY6" fmla="*/ 1436656 h 2873311"/>
                <a:gd name="connsiteX7" fmla="*/ 2003193 w 2003193"/>
                <a:gd name="connsiteY7" fmla="*/ 1943936 h 2873311"/>
                <a:gd name="connsiteX8" fmla="*/ 2003193 w 2003193"/>
                <a:gd name="connsiteY8" fmla="*/ 2539439 h 2873311"/>
                <a:gd name="connsiteX9" fmla="*/ 1669321 w 2003193"/>
                <a:gd name="connsiteY9" fmla="*/ 2873311 h 2873311"/>
                <a:gd name="connsiteX10" fmla="*/ 1001597 w 2003193"/>
                <a:gd name="connsiteY10" fmla="*/ 2873311 h 2873311"/>
                <a:gd name="connsiteX11" fmla="*/ 333872 w 2003193"/>
                <a:gd name="connsiteY11" fmla="*/ 2873311 h 2873311"/>
                <a:gd name="connsiteX12" fmla="*/ 0 w 2003193"/>
                <a:gd name="connsiteY12" fmla="*/ 2539439 h 2873311"/>
                <a:gd name="connsiteX13" fmla="*/ 0 w 2003193"/>
                <a:gd name="connsiteY13" fmla="*/ 1988047 h 2873311"/>
                <a:gd name="connsiteX14" fmla="*/ 0 w 2003193"/>
                <a:gd name="connsiteY14" fmla="*/ 1436656 h 2873311"/>
                <a:gd name="connsiteX15" fmla="*/ 0 w 2003193"/>
                <a:gd name="connsiteY15" fmla="*/ 841152 h 2873311"/>
                <a:gd name="connsiteX16" fmla="*/ 0 w 2003193"/>
                <a:gd name="connsiteY16" fmla="*/ 333872 h 2873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03193" h="2873311" extrusionOk="0">
                  <a:moveTo>
                    <a:pt x="0" y="333872"/>
                  </a:moveTo>
                  <a:cubicBezTo>
                    <a:pt x="-14644" y="140447"/>
                    <a:pt x="143101" y="2394"/>
                    <a:pt x="333872" y="0"/>
                  </a:cubicBezTo>
                  <a:cubicBezTo>
                    <a:pt x="474135" y="-21206"/>
                    <a:pt x="738413" y="-33757"/>
                    <a:pt x="1028305" y="0"/>
                  </a:cubicBezTo>
                  <a:cubicBezTo>
                    <a:pt x="1318197" y="33757"/>
                    <a:pt x="1534947" y="-19692"/>
                    <a:pt x="1669321" y="0"/>
                  </a:cubicBezTo>
                  <a:cubicBezTo>
                    <a:pt x="1828079" y="-14025"/>
                    <a:pt x="2036043" y="165176"/>
                    <a:pt x="2003193" y="333872"/>
                  </a:cubicBezTo>
                  <a:cubicBezTo>
                    <a:pt x="2002117" y="562870"/>
                    <a:pt x="1999318" y="712043"/>
                    <a:pt x="2003193" y="841152"/>
                  </a:cubicBezTo>
                  <a:cubicBezTo>
                    <a:pt x="2007068" y="970261"/>
                    <a:pt x="2029230" y="1195383"/>
                    <a:pt x="2003193" y="1436656"/>
                  </a:cubicBezTo>
                  <a:cubicBezTo>
                    <a:pt x="1977156" y="1677929"/>
                    <a:pt x="2011926" y="1835387"/>
                    <a:pt x="2003193" y="1943936"/>
                  </a:cubicBezTo>
                  <a:cubicBezTo>
                    <a:pt x="1994460" y="2052485"/>
                    <a:pt x="1994977" y="2331945"/>
                    <a:pt x="2003193" y="2539439"/>
                  </a:cubicBezTo>
                  <a:cubicBezTo>
                    <a:pt x="2031118" y="2730545"/>
                    <a:pt x="1841966" y="2871411"/>
                    <a:pt x="1669321" y="2873311"/>
                  </a:cubicBezTo>
                  <a:cubicBezTo>
                    <a:pt x="1518389" y="2850787"/>
                    <a:pt x="1149602" y="2901681"/>
                    <a:pt x="1001597" y="2873311"/>
                  </a:cubicBezTo>
                  <a:cubicBezTo>
                    <a:pt x="853592" y="2844941"/>
                    <a:pt x="520850" y="2866897"/>
                    <a:pt x="333872" y="2873311"/>
                  </a:cubicBezTo>
                  <a:cubicBezTo>
                    <a:pt x="152560" y="2877084"/>
                    <a:pt x="8689" y="2716223"/>
                    <a:pt x="0" y="2539439"/>
                  </a:cubicBezTo>
                  <a:cubicBezTo>
                    <a:pt x="-8698" y="2271814"/>
                    <a:pt x="-18338" y="2147550"/>
                    <a:pt x="0" y="1988047"/>
                  </a:cubicBezTo>
                  <a:cubicBezTo>
                    <a:pt x="18338" y="1828544"/>
                    <a:pt x="1209" y="1585857"/>
                    <a:pt x="0" y="1436656"/>
                  </a:cubicBezTo>
                  <a:cubicBezTo>
                    <a:pt x="-1209" y="1287455"/>
                    <a:pt x="-24666" y="1047226"/>
                    <a:pt x="0" y="841152"/>
                  </a:cubicBezTo>
                  <a:cubicBezTo>
                    <a:pt x="24666" y="635078"/>
                    <a:pt x="23646" y="505410"/>
                    <a:pt x="0" y="333872"/>
                  </a:cubicBezTo>
                  <a:close/>
                </a:path>
              </a:pathLst>
            </a:custGeom>
            <a:noFill/>
            <a:ln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931CE5A-3FE5-93CA-657F-3C9CA9333C70}"/>
                </a:ext>
              </a:extLst>
            </p:cNvPr>
            <p:cNvSpPr txBox="1"/>
            <p:nvPr/>
          </p:nvSpPr>
          <p:spPr>
            <a:xfrm>
              <a:off x="532078" y="4117012"/>
              <a:ext cx="139198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/</a:t>
              </a:r>
              <a:r>
                <a:rPr lang="en-US" dirty="0" err="1"/>
                <a:t>ts</a:t>
              </a:r>
              <a:r>
                <a:rPr lang="en-US" dirty="0"/>
                <a:t>/</a:t>
              </a:r>
              <a:r>
                <a:rPr lang="en-US" dirty="0" err="1"/>
                <a:t>sqlServer</a:t>
              </a:r>
              <a:endParaRPr lang="en-US" dirty="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516B381-C261-B2F4-6511-9C4570F859CA}"/>
                </a:ext>
              </a:extLst>
            </p:cNvPr>
            <p:cNvSpPr txBox="1"/>
            <p:nvPr/>
          </p:nvSpPr>
          <p:spPr>
            <a:xfrm>
              <a:off x="517992" y="4457317"/>
              <a:ext cx="105548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/</a:t>
              </a:r>
              <a:r>
                <a:rPr lang="en-US" dirty="0" err="1"/>
                <a:t>ts</a:t>
              </a:r>
              <a:r>
                <a:rPr lang="en-US" dirty="0"/>
                <a:t>/</a:t>
              </a:r>
              <a:r>
                <a:rPr lang="en-US" dirty="0" err="1"/>
                <a:t>sqlDb</a:t>
              </a:r>
              <a:endParaRPr lang="en-US" dirty="0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8749A3C-DC21-F967-BE07-A79A3B25DA46}"/>
                </a:ext>
              </a:extLst>
            </p:cNvPr>
            <p:cNvSpPr txBox="1"/>
            <p:nvPr/>
          </p:nvSpPr>
          <p:spPr>
            <a:xfrm>
              <a:off x="517991" y="4797198"/>
              <a:ext cx="209130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rgbClr val="FF0000"/>
                  </a:solidFill>
                </a:rPr>
                <a:t>/</a:t>
              </a:r>
              <a:r>
                <a:rPr lang="en-US" dirty="0" err="1">
                  <a:solidFill>
                    <a:srgbClr val="FF0000"/>
                  </a:solidFill>
                </a:rPr>
                <a:t>ts</a:t>
              </a:r>
              <a:r>
                <a:rPr lang="en-US" dirty="0">
                  <a:solidFill>
                    <a:srgbClr val="FF0000"/>
                  </a:solidFill>
                </a:rPr>
                <a:t>/</a:t>
              </a:r>
              <a:r>
                <a:rPr lang="en-US" dirty="0" err="1">
                  <a:solidFill>
                    <a:srgbClr val="FF0000"/>
                  </a:solidFill>
                </a:rPr>
                <a:t>sqlServerAndDb</a:t>
              </a:r>
              <a:endParaRPr lang="en-US" dirty="0">
                <a:solidFill>
                  <a:srgbClr val="FF0000"/>
                </a:solidFill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DF59A1A5-B385-A26E-C52C-75D1E7B4A7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7931" y="3253567"/>
            <a:ext cx="2389754" cy="2877458"/>
          </a:xfrm>
          <a:custGeom>
            <a:avLst/>
            <a:gdLst>
              <a:gd name="connsiteX0" fmla="*/ 0 w 2389754"/>
              <a:gd name="connsiteY0" fmla="*/ 0 h 2877458"/>
              <a:gd name="connsiteX1" fmla="*/ 525746 w 2389754"/>
              <a:gd name="connsiteY1" fmla="*/ 0 h 2877458"/>
              <a:gd name="connsiteX2" fmla="*/ 1075389 w 2389754"/>
              <a:gd name="connsiteY2" fmla="*/ 0 h 2877458"/>
              <a:gd name="connsiteX3" fmla="*/ 1696725 w 2389754"/>
              <a:gd name="connsiteY3" fmla="*/ 0 h 2877458"/>
              <a:gd name="connsiteX4" fmla="*/ 2389754 w 2389754"/>
              <a:gd name="connsiteY4" fmla="*/ 0 h 2877458"/>
              <a:gd name="connsiteX5" fmla="*/ 2389754 w 2389754"/>
              <a:gd name="connsiteY5" fmla="*/ 517942 h 2877458"/>
              <a:gd name="connsiteX6" fmla="*/ 2389754 w 2389754"/>
              <a:gd name="connsiteY6" fmla="*/ 1007110 h 2877458"/>
              <a:gd name="connsiteX7" fmla="*/ 2389754 w 2389754"/>
              <a:gd name="connsiteY7" fmla="*/ 1496278 h 2877458"/>
              <a:gd name="connsiteX8" fmla="*/ 2389754 w 2389754"/>
              <a:gd name="connsiteY8" fmla="*/ 2071770 h 2877458"/>
              <a:gd name="connsiteX9" fmla="*/ 2389754 w 2389754"/>
              <a:gd name="connsiteY9" fmla="*/ 2877458 h 2877458"/>
              <a:gd name="connsiteX10" fmla="*/ 1768418 w 2389754"/>
              <a:gd name="connsiteY10" fmla="*/ 2877458 h 2877458"/>
              <a:gd name="connsiteX11" fmla="*/ 1194877 w 2389754"/>
              <a:gd name="connsiteY11" fmla="*/ 2877458 h 2877458"/>
              <a:gd name="connsiteX12" fmla="*/ 669131 w 2389754"/>
              <a:gd name="connsiteY12" fmla="*/ 2877458 h 2877458"/>
              <a:gd name="connsiteX13" fmla="*/ 0 w 2389754"/>
              <a:gd name="connsiteY13" fmla="*/ 2877458 h 2877458"/>
              <a:gd name="connsiteX14" fmla="*/ 0 w 2389754"/>
              <a:gd name="connsiteY14" fmla="*/ 2359516 h 2877458"/>
              <a:gd name="connsiteX15" fmla="*/ 0 w 2389754"/>
              <a:gd name="connsiteY15" fmla="*/ 1784024 h 2877458"/>
              <a:gd name="connsiteX16" fmla="*/ 0 w 2389754"/>
              <a:gd name="connsiteY16" fmla="*/ 1150983 h 2877458"/>
              <a:gd name="connsiteX17" fmla="*/ 0 w 2389754"/>
              <a:gd name="connsiteY17" fmla="*/ 633041 h 2877458"/>
              <a:gd name="connsiteX18" fmla="*/ 0 w 2389754"/>
              <a:gd name="connsiteY18" fmla="*/ 0 h 28774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389754" h="2877458" fill="none" extrusionOk="0">
                <a:moveTo>
                  <a:pt x="0" y="0"/>
                </a:moveTo>
                <a:cubicBezTo>
                  <a:pt x="133107" y="-23435"/>
                  <a:pt x="299730" y="-5013"/>
                  <a:pt x="525746" y="0"/>
                </a:cubicBezTo>
                <a:cubicBezTo>
                  <a:pt x="751762" y="5013"/>
                  <a:pt x="892925" y="-1822"/>
                  <a:pt x="1075389" y="0"/>
                </a:cubicBezTo>
                <a:cubicBezTo>
                  <a:pt x="1257853" y="1822"/>
                  <a:pt x="1500302" y="-10162"/>
                  <a:pt x="1696725" y="0"/>
                </a:cubicBezTo>
                <a:cubicBezTo>
                  <a:pt x="1893148" y="10162"/>
                  <a:pt x="2049565" y="-20828"/>
                  <a:pt x="2389754" y="0"/>
                </a:cubicBezTo>
                <a:cubicBezTo>
                  <a:pt x="2402202" y="203869"/>
                  <a:pt x="2387950" y="352813"/>
                  <a:pt x="2389754" y="517942"/>
                </a:cubicBezTo>
                <a:cubicBezTo>
                  <a:pt x="2391558" y="683071"/>
                  <a:pt x="2409321" y="825678"/>
                  <a:pt x="2389754" y="1007110"/>
                </a:cubicBezTo>
                <a:cubicBezTo>
                  <a:pt x="2370187" y="1188542"/>
                  <a:pt x="2402895" y="1339331"/>
                  <a:pt x="2389754" y="1496278"/>
                </a:cubicBezTo>
                <a:cubicBezTo>
                  <a:pt x="2376613" y="1653225"/>
                  <a:pt x="2399904" y="1937260"/>
                  <a:pt x="2389754" y="2071770"/>
                </a:cubicBezTo>
                <a:cubicBezTo>
                  <a:pt x="2379604" y="2206280"/>
                  <a:pt x="2396390" y="2500278"/>
                  <a:pt x="2389754" y="2877458"/>
                </a:cubicBezTo>
                <a:cubicBezTo>
                  <a:pt x="2115157" y="2865682"/>
                  <a:pt x="1973929" y="2895244"/>
                  <a:pt x="1768418" y="2877458"/>
                </a:cubicBezTo>
                <a:cubicBezTo>
                  <a:pt x="1562907" y="2859672"/>
                  <a:pt x="1328025" y="2893368"/>
                  <a:pt x="1194877" y="2877458"/>
                </a:cubicBezTo>
                <a:cubicBezTo>
                  <a:pt x="1061729" y="2861548"/>
                  <a:pt x="914358" y="2882944"/>
                  <a:pt x="669131" y="2877458"/>
                </a:cubicBezTo>
                <a:cubicBezTo>
                  <a:pt x="423904" y="2871972"/>
                  <a:pt x="134926" y="2901033"/>
                  <a:pt x="0" y="2877458"/>
                </a:cubicBezTo>
                <a:cubicBezTo>
                  <a:pt x="-13808" y="2620348"/>
                  <a:pt x="-16436" y="2518149"/>
                  <a:pt x="0" y="2359516"/>
                </a:cubicBezTo>
                <a:cubicBezTo>
                  <a:pt x="16436" y="2200883"/>
                  <a:pt x="20426" y="1917169"/>
                  <a:pt x="0" y="1784024"/>
                </a:cubicBezTo>
                <a:cubicBezTo>
                  <a:pt x="-20426" y="1650879"/>
                  <a:pt x="-26934" y="1377101"/>
                  <a:pt x="0" y="1150983"/>
                </a:cubicBezTo>
                <a:cubicBezTo>
                  <a:pt x="26934" y="924865"/>
                  <a:pt x="-1498" y="760957"/>
                  <a:pt x="0" y="633041"/>
                </a:cubicBezTo>
                <a:cubicBezTo>
                  <a:pt x="1498" y="505125"/>
                  <a:pt x="-30856" y="299793"/>
                  <a:pt x="0" y="0"/>
                </a:cubicBezTo>
                <a:close/>
              </a:path>
              <a:path w="2389754" h="2877458" stroke="0" extrusionOk="0">
                <a:moveTo>
                  <a:pt x="0" y="0"/>
                </a:moveTo>
                <a:cubicBezTo>
                  <a:pt x="232365" y="22396"/>
                  <a:pt x="377446" y="-6112"/>
                  <a:pt x="573541" y="0"/>
                </a:cubicBezTo>
                <a:cubicBezTo>
                  <a:pt x="769636" y="6112"/>
                  <a:pt x="990591" y="-22253"/>
                  <a:pt x="1099287" y="0"/>
                </a:cubicBezTo>
                <a:cubicBezTo>
                  <a:pt x="1207983" y="22253"/>
                  <a:pt x="1572197" y="-29793"/>
                  <a:pt x="1744520" y="0"/>
                </a:cubicBezTo>
                <a:cubicBezTo>
                  <a:pt x="1916843" y="29793"/>
                  <a:pt x="2226119" y="11190"/>
                  <a:pt x="2389754" y="0"/>
                </a:cubicBezTo>
                <a:cubicBezTo>
                  <a:pt x="2410754" y="158609"/>
                  <a:pt x="2385810" y="282181"/>
                  <a:pt x="2389754" y="546717"/>
                </a:cubicBezTo>
                <a:cubicBezTo>
                  <a:pt x="2393698" y="811253"/>
                  <a:pt x="2374729" y="834189"/>
                  <a:pt x="2389754" y="1064659"/>
                </a:cubicBezTo>
                <a:cubicBezTo>
                  <a:pt x="2404779" y="1295129"/>
                  <a:pt x="2398609" y="1502835"/>
                  <a:pt x="2389754" y="1640151"/>
                </a:cubicBezTo>
                <a:cubicBezTo>
                  <a:pt x="2380899" y="1777467"/>
                  <a:pt x="2390146" y="1983893"/>
                  <a:pt x="2389754" y="2215643"/>
                </a:cubicBezTo>
                <a:cubicBezTo>
                  <a:pt x="2389362" y="2447393"/>
                  <a:pt x="2378857" y="2567891"/>
                  <a:pt x="2389754" y="2877458"/>
                </a:cubicBezTo>
                <a:cubicBezTo>
                  <a:pt x="2127505" y="2853983"/>
                  <a:pt x="2080544" y="2900121"/>
                  <a:pt x="1840111" y="2877458"/>
                </a:cubicBezTo>
                <a:cubicBezTo>
                  <a:pt x="1599678" y="2854795"/>
                  <a:pt x="1368046" y="2854301"/>
                  <a:pt x="1242672" y="2877458"/>
                </a:cubicBezTo>
                <a:cubicBezTo>
                  <a:pt x="1117298" y="2900615"/>
                  <a:pt x="943880" y="2864572"/>
                  <a:pt x="669131" y="2877458"/>
                </a:cubicBezTo>
                <a:cubicBezTo>
                  <a:pt x="394382" y="2890344"/>
                  <a:pt x="193358" y="2883788"/>
                  <a:pt x="0" y="2877458"/>
                </a:cubicBezTo>
                <a:cubicBezTo>
                  <a:pt x="13521" y="2564229"/>
                  <a:pt x="-17920" y="2381602"/>
                  <a:pt x="0" y="2244417"/>
                </a:cubicBezTo>
                <a:cubicBezTo>
                  <a:pt x="17920" y="2107232"/>
                  <a:pt x="-30553" y="1887858"/>
                  <a:pt x="0" y="1611376"/>
                </a:cubicBezTo>
                <a:cubicBezTo>
                  <a:pt x="30553" y="1334894"/>
                  <a:pt x="-4126" y="1318349"/>
                  <a:pt x="0" y="1035885"/>
                </a:cubicBezTo>
                <a:cubicBezTo>
                  <a:pt x="4126" y="753421"/>
                  <a:pt x="31887" y="358663"/>
                  <a:pt x="0" y="0"/>
                </a:cubicBezTo>
                <a:close/>
              </a:path>
            </a:pathLst>
          </a:custGeom>
          <a:ln>
            <a:solidFill>
              <a:schemeClr val="accent4">
                <a:lumMod val="60000"/>
                <a:lumOff val="40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85B7EA1-72BA-DDB8-A8ED-08B20CFD40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47466" y="3253567"/>
            <a:ext cx="4172166" cy="2923526"/>
          </a:xfrm>
          <a:custGeom>
            <a:avLst/>
            <a:gdLst>
              <a:gd name="connsiteX0" fmla="*/ 0 w 4172166"/>
              <a:gd name="connsiteY0" fmla="*/ 0 h 2923526"/>
              <a:gd name="connsiteX1" fmla="*/ 778804 w 4172166"/>
              <a:gd name="connsiteY1" fmla="*/ 0 h 2923526"/>
              <a:gd name="connsiteX2" fmla="*/ 1515887 w 4172166"/>
              <a:gd name="connsiteY2" fmla="*/ 0 h 2923526"/>
              <a:gd name="connsiteX3" fmla="*/ 2211248 w 4172166"/>
              <a:gd name="connsiteY3" fmla="*/ 0 h 2923526"/>
              <a:gd name="connsiteX4" fmla="*/ 2906609 w 4172166"/>
              <a:gd name="connsiteY4" fmla="*/ 0 h 2923526"/>
              <a:gd name="connsiteX5" fmla="*/ 4172166 w 4172166"/>
              <a:gd name="connsiteY5" fmla="*/ 0 h 2923526"/>
              <a:gd name="connsiteX6" fmla="*/ 4172166 w 4172166"/>
              <a:gd name="connsiteY6" fmla="*/ 613940 h 2923526"/>
              <a:gd name="connsiteX7" fmla="*/ 4172166 w 4172166"/>
              <a:gd name="connsiteY7" fmla="*/ 1140175 h 2923526"/>
              <a:gd name="connsiteX8" fmla="*/ 4172166 w 4172166"/>
              <a:gd name="connsiteY8" fmla="*/ 1754116 h 2923526"/>
              <a:gd name="connsiteX9" fmla="*/ 4172166 w 4172166"/>
              <a:gd name="connsiteY9" fmla="*/ 2251115 h 2923526"/>
              <a:gd name="connsiteX10" fmla="*/ 4172166 w 4172166"/>
              <a:gd name="connsiteY10" fmla="*/ 2923526 h 2923526"/>
              <a:gd name="connsiteX11" fmla="*/ 3560248 w 4172166"/>
              <a:gd name="connsiteY11" fmla="*/ 2923526 h 2923526"/>
              <a:gd name="connsiteX12" fmla="*/ 2781444 w 4172166"/>
              <a:gd name="connsiteY12" fmla="*/ 2923526 h 2923526"/>
              <a:gd name="connsiteX13" fmla="*/ 2127805 w 4172166"/>
              <a:gd name="connsiteY13" fmla="*/ 2923526 h 2923526"/>
              <a:gd name="connsiteX14" fmla="*/ 1349000 w 4172166"/>
              <a:gd name="connsiteY14" fmla="*/ 2923526 h 2923526"/>
              <a:gd name="connsiteX15" fmla="*/ 737083 w 4172166"/>
              <a:gd name="connsiteY15" fmla="*/ 2923526 h 2923526"/>
              <a:gd name="connsiteX16" fmla="*/ 0 w 4172166"/>
              <a:gd name="connsiteY16" fmla="*/ 2923526 h 2923526"/>
              <a:gd name="connsiteX17" fmla="*/ 0 w 4172166"/>
              <a:gd name="connsiteY17" fmla="*/ 2426527 h 2923526"/>
              <a:gd name="connsiteX18" fmla="*/ 0 w 4172166"/>
              <a:gd name="connsiteY18" fmla="*/ 1929527 h 2923526"/>
              <a:gd name="connsiteX19" fmla="*/ 0 w 4172166"/>
              <a:gd name="connsiteY19" fmla="*/ 1432528 h 2923526"/>
              <a:gd name="connsiteX20" fmla="*/ 0 w 4172166"/>
              <a:gd name="connsiteY20" fmla="*/ 789352 h 2923526"/>
              <a:gd name="connsiteX21" fmla="*/ 0 w 4172166"/>
              <a:gd name="connsiteY21" fmla="*/ 0 h 2923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4172166" h="2923526" fill="none" extrusionOk="0">
                <a:moveTo>
                  <a:pt x="0" y="0"/>
                </a:moveTo>
                <a:cubicBezTo>
                  <a:pt x="280740" y="-13662"/>
                  <a:pt x="597745" y="-32234"/>
                  <a:pt x="778804" y="0"/>
                </a:cubicBezTo>
                <a:cubicBezTo>
                  <a:pt x="959863" y="32234"/>
                  <a:pt x="1258896" y="1137"/>
                  <a:pt x="1515887" y="0"/>
                </a:cubicBezTo>
                <a:cubicBezTo>
                  <a:pt x="1772878" y="-1137"/>
                  <a:pt x="1867800" y="-5022"/>
                  <a:pt x="2211248" y="0"/>
                </a:cubicBezTo>
                <a:cubicBezTo>
                  <a:pt x="2554696" y="5022"/>
                  <a:pt x="2675197" y="2017"/>
                  <a:pt x="2906609" y="0"/>
                </a:cubicBezTo>
                <a:cubicBezTo>
                  <a:pt x="3138021" y="-2017"/>
                  <a:pt x="3713302" y="-46591"/>
                  <a:pt x="4172166" y="0"/>
                </a:cubicBezTo>
                <a:cubicBezTo>
                  <a:pt x="4192155" y="187530"/>
                  <a:pt x="4178400" y="423295"/>
                  <a:pt x="4172166" y="613940"/>
                </a:cubicBezTo>
                <a:cubicBezTo>
                  <a:pt x="4165932" y="804585"/>
                  <a:pt x="4183662" y="950481"/>
                  <a:pt x="4172166" y="1140175"/>
                </a:cubicBezTo>
                <a:cubicBezTo>
                  <a:pt x="4160670" y="1329870"/>
                  <a:pt x="4181994" y="1577989"/>
                  <a:pt x="4172166" y="1754116"/>
                </a:cubicBezTo>
                <a:cubicBezTo>
                  <a:pt x="4162338" y="1930243"/>
                  <a:pt x="4154968" y="2141027"/>
                  <a:pt x="4172166" y="2251115"/>
                </a:cubicBezTo>
                <a:cubicBezTo>
                  <a:pt x="4189364" y="2361203"/>
                  <a:pt x="4200470" y="2646779"/>
                  <a:pt x="4172166" y="2923526"/>
                </a:cubicBezTo>
                <a:cubicBezTo>
                  <a:pt x="3908256" y="2909359"/>
                  <a:pt x="3716715" y="2927367"/>
                  <a:pt x="3560248" y="2923526"/>
                </a:cubicBezTo>
                <a:cubicBezTo>
                  <a:pt x="3403781" y="2919685"/>
                  <a:pt x="2992572" y="2888908"/>
                  <a:pt x="2781444" y="2923526"/>
                </a:cubicBezTo>
                <a:cubicBezTo>
                  <a:pt x="2570316" y="2958144"/>
                  <a:pt x="2358816" y="2954486"/>
                  <a:pt x="2127805" y="2923526"/>
                </a:cubicBezTo>
                <a:cubicBezTo>
                  <a:pt x="1896794" y="2892566"/>
                  <a:pt x="1681854" y="2889654"/>
                  <a:pt x="1349000" y="2923526"/>
                </a:cubicBezTo>
                <a:cubicBezTo>
                  <a:pt x="1016146" y="2957398"/>
                  <a:pt x="933608" y="2893527"/>
                  <a:pt x="737083" y="2923526"/>
                </a:cubicBezTo>
                <a:cubicBezTo>
                  <a:pt x="540558" y="2953525"/>
                  <a:pt x="150689" y="2904582"/>
                  <a:pt x="0" y="2923526"/>
                </a:cubicBezTo>
                <a:cubicBezTo>
                  <a:pt x="1373" y="2724281"/>
                  <a:pt x="-92" y="2570503"/>
                  <a:pt x="0" y="2426527"/>
                </a:cubicBezTo>
                <a:cubicBezTo>
                  <a:pt x="92" y="2282551"/>
                  <a:pt x="-3497" y="2137812"/>
                  <a:pt x="0" y="1929527"/>
                </a:cubicBezTo>
                <a:cubicBezTo>
                  <a:pt x="3497" y="1721242"/>
                  <a:pt x="19849" y="1533148"/>
                  <a:pt x="0" y="1432528"/>
                </a:cubicBezTo>
                <a:cubicBezTo>
                  <a:pt x="-19849" y="1331908"/>
                  <a:pt x="22058" y="1104536"/>
                  <a:pt x="0" y="789352"/>
                </a:cubicBezTo>
                <a:cubicBezTo>
                  <a:pt x="-22058" y="474168"/>
                  <a:pt x="19221" y="340770"/>
                  <a:pt x="0" y="0"/>
                </a:cubicBezTo>
                <a:close/>
              </a:path>
              <a:path w="4172166" h="2923526" stroke="0" extrusionOk="0">
                <a:moveTo>
                  <a:pt x="0" y="0"/>
                </a:moveTo>
                <a:cubicBezTo>
                  <a:pt x="141523" y="-21732"/>
                  <a:pt x="515871" y="-6295"/>
                  <a:pt x="653639" y="0"/>
                </a:cubicBezTo>
                <a:cubicBezTo>
                  <a:pt x="791407" y="6295"/>
                  <a:pt x="1102362" y="-24394"/>
                  <a:pt x="1223835" y="0"/>
                </a:cubicBezTo>
                <a:cubicBezTo>
                  <a:pt x="1345308" y="24394"/>
                  <a:pt x="1736620" y="32605"/>
                  <a:pt x="2002640" y="0"/>
                </a:cubicBezTo>
                <a:cubicBezTo>
                  <a:pt x="2268660" y="-32605"/>
                  <a:pt x="2417804" y="2815"/>
                  <a:pt x="2656279" y="0"/>
                </a:cubicBezTo>
                <a:cubicBezTo>
                  <a:pt x="2894754" y="-2815"/>
                  <a:pt x="3109837" y="4986"/>
                  <a:pt x="3309918" y="0"/>
                </a:cubicBezTo>
                <a:cubicBezTo>
                  <a:pt x="3509999" y="-4986"/>
                  <a:pt x="3794685" y="7669"/>
                  <a:pt x="4172166" y="0"/>
                </a:cubicBezTo>
                <a:cubicBezTo>
                  <a:pt x="4177245" y="213089"/>
                  <a:pt x="4177242" y="310032"/>
                  <a:pt x="4172166" y="526235"/>
                </a:cubicBezTo>
                <a:cubicBezTo>
                  <a:pt x="4167090" y="742439"/>
                  <a:pt x="4183636" y="821608"/>
                  <a:pt x="4172166" y="1110940"/>
                </a:cubicBezTo>
                <a:cubicBezTo>
                  <a:pt x="4160696" y="1400273"/>
                  <a:pt x="4197977" y="1474934"/>
                  <a:pt x="4172166" y="1637175"/>
                </a:cubicBezTo>
                <a:cubicBezTo>
                  <a:pt x="4146355" y="1799417"/>
                  <a:pt x="4168335" y="2022877"/>
                  <a:pt x="4172166" y="2163409"/>
                </a:cubicBezTo>
                <a:cubicBezTo>
                  <a:pt x="4175997" y="2303941"/>
                  <a:pt x="4174980" y="2664872"/>
                  <a:pt x="4172166" y="2923526"/>
                </a:cubicBezTo>
                <a:cubicBezTo>
                  <a:pt x="3839948" y="2953186"/>
                  <a:pt x="3786135" y="2938462"/>
                  <a:pt x="3435083" y="2923526"/>
                </a:cubicBezTo>
                <a:cubicBezTo>
                  <a:pt x="3084031" y="2908590"/>
                  <a:pt x="3006428" y="2953560"/>
                  <a:pt x="2656279" y="2923526"/>
                </a:cubicBezTo>
                <a:cubicBezTo>
                  <a:pt x="2306130" y="2893492"/>
                  <a:pt x="2064188" y="2920043"/>
                  <a:pt x="1877475" y="2923526"/>
                </a:cubicBezTo>
                <a:cubicBezTo>
                  <a:pt x="1690762" y="2927009"/>
                  <a:pt x="1553132" y="2896580"/>
                  <a:pt x="1265557" y="2923526"/>
                </a:cubicBezTo>
                <a:cubicBezTo>
                  <a:pt x="977982" y="2950472"/>
                  <a:pt x="433938" y="2936780"/>
                  <a:pt x="0" y="2923526"/>
                </a:cubicBezTo>
                <a:cubicBezTo>
                  <a:pt x="1053" y="2624952"/>
                  <a:pt x="26705" y="2454867"/>
                  <a:pt x="0" y="2280350"/>
                </a:cubicBezTo>
                <a:cubicBezTo>
                  <a:pt x="-26705" y="2105833"/>
                  <a:pt x="1206" y="2028193"/>
                  <a:pt x="0" y="1783351"/>
                </a:cubicBezTo>
                <a:cubicBezTo>
                  <a:pt x="-1206" y="1538509"/>
                  <a:pt x="11936" y="1414810"/>
                  <a:pt x="0" y="1257116"/>
                </a:cubicBezTo>
                <a:cubicBezTo>
                  <a:pt x="-11936" y="1099423"/>
                  <a:pt x="-6444" y="967434"/>
                  <a:pt x="0" y="730881"/>
                </a:cubicBezTo>
                <a:cubicBezTo>
                  <a:pt x="6444" y="494329"/>
                  <a:pt x="-20618" y="192484"/>
                  <a:pt x="0" y="0"/>
                </a:cubicBezTo>
                <a:close/>
              </a:path>
            </a:pathLst>
          </a:custGeom>
          <a:ln>
            <a:solidFill>
              <a:schemeClr val="accent1">
                <a:lumMod val="50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</p:pic>
    </p:spTree>
    <p:extLst>
      <p:ext uri="{BB962C8B-B14F-4D97-AF65-F5344CB8AC3E}">
        <p14:creationId xmlns:p14="http://schemas.microsoft.com/office/powerpoint/2010/main" val="288196242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Template Specs </a:t>
            </a:r>
            <a:r>
              <a:rPr lang="en-US" i="0" u="none" strike="noStrike" dirty="0"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Pros and Cons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4" y="1825625"/>
            <a:ext cx="4954814" cy="4270375"/>
          </a:xfrm>
        </p:spPr>
        <p:txBody>
          <a:bodyPr>
            <a:normAutofit/>
          </a:bodyPr>
          <a:lstStyle/>
          <a:p>
            <a:pPr>
              <a:buFontTx/>
              <a:buChar char="-"/>
            </a:pPr>
            <a:r>
              <a:rPr lang="en-US" sz="2000" dirty="0"/>
              <a:t>Rich UI for Portal Users</a:t>
            </a:r>
          </a:p>
          <a:p>
            <a:pPr>
              <a:buFontTx/>
              <a:buChar char="-"/>
            </a:pPr>
            <a:r>
              <a:rPr lang="en-US" sz="2000" dirty="0"/>
              <a:t>Better Input validation</a:t>
            </a:r>
          </a:p>
          <a:p>
            <a:pPr>
              <a:buFontTx/>
              <a:buChar char="-"/>
            </a:pPr>
            <a:r>
              <a:rPr lang="en-US" sz="2000" dirty="0"/>
              <a:t>UI development does not require </a:t>
            </a:r>
            <a:r>
              <a:rPr lang="en-US" sz="2000" dirty="0" err="1"/>
              <a:t>SoftDev</a:t>
            </a:r>
            <a:r>
              <a:rPr lang="en-US" sz="2000" dirty="0"/>
              <a:t> skills</a:t>
            </a:r>
          </a:p>
          <a:p>
            <a:pPr>
              <a:buFontTx/>
              <a:buChar char="-"/>
            </a:pPr>
            <a:r>
              <a:rPr lang="en-US" sz="2000" dirty="0"/>
              <a:t>Supports versioning with release notes</a:t>
            </a:r>
          </a:p>
          <a:p>
            <a:pPr>
              <a:buFontTx/>
              <a:buChar char="-"/>
            </a:pPr>
            <a:r>
              <a:rPr lang="en-US" sz="2000" dirty="0"/>
              <a:t>Idempotency-er (dependencies are always statically included)</a:t>
            </a:r>
          </a:p>
          <a:p>
            <a:pPr>
              <a:buFontTx/>
              <a:buChar char="-"/>
            </a:pPr>
            <a:r>
              <a:rPr lang="en-US" sz="2000" dirty="0"/>
              <a:t>No Bicep registry needed for distribution</a:t>
            </a:r>
          </a:p>
          <a:p>
            <a:pPr>
              <a:buFontTx/>
              <a:buChar char="-"/>
            </a:pPr>
            <a:r>
              <a:rPr lang="en-US" sz="2000" dirty="0"/>
              <a:t>Universal piece of the </a:t>
            </a:r>
            <a:r>
              <a:rPr lang="en-US" sz="2000" dirty="0" err="1"/>
              <a:t>IaC</a:t>
            </a:r>
            <a:r>
              <a:rPr lang="en-US" sz="2000" dirty="0"/>
              <a:t> puzzle</a:t>
            </a:r>
          </a:p>
          <a:p>
            <a:pPr>
              <a:buFontTx/>
              <a:buChar char="-"/>
            </a:pPr>
            <a:r>
              <a:rPr lang="en-US" sz="2000" dirty="0"/>
              <a:t>Portal User identity and RBAC used</a:t>
            </a:r>
          </a:p>
          <a:p>
            <a:pPr>
              <a:buFontTx/>
              <a:buChar char="-"/>
            </a:pPr>
            <a:endParaRPr lang="en-US" sz="2000" dirty="0"/>
          </a:p>
          <a:p>
            <a:pPr>
              <a:buFontTx/>
              <a:buChar char="-"/>
            </a:pPr>
            <a:endParaRPr lang="en-US" sz="2000" dirty="0"/>
          </a:p>
          <a:p>
            <a:pPr>
              <a:buFontTx/>
              <a:buChar char="-"/>
            </a:pPr>
            <a:endParaRPr lang="en-US" sz="2000" dirty="0"/>
          </a:p>
          <a:p>
            <a:pPr marL="0" indent="0">
              <a:buNone/>
            </a:pP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618E747-3ED6-C2AE-EB17-E07ACC73CB9C}"/>
              </a:ext>
            </a:extLst>
          </p:cNvPr>
          <p:cNvSpPr txBox="1">
            <a:spLocks/>
          </p:cNvSpPr>
          <p:nvPr/>
        </p:nvSpPr>
        <p:spPr>
          <a:xfrm>
            <a:off x="6193971" y="1825624"/>
            <a:ext cx="5433785" cy="42703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dirty="0"/>
              <a:t>Portal UI does not support Deployment Stacks</a:t>
            </a:r>
          </a:p>
          <a:p>
            <a:pPr>
              <a:buFontTx/>
              <a:buChar char="-"/>
            </a:pPr>
            <a:r>
              <a:rPr lang="en-US" sz="2000" dirty="0"/>
              <a:t>Initial deployment cannot be named</a:t>
            </a:r>
          </a:p>
          <a:p>
            <a:pPr>
              <a:buFontTx/>
              <a:buChar char="-"/>
            </a:pPr>
            <a:r>
              <a:rPr lang="en-US" sz="2000" dirty="0" err="1"/>
              <a:t>json</a:t>
            </a:r>
            <a:r>
              <a:rPr lang="en-US" sz="2000" dirty="0"/>
              <a:t> UI definition complicates with scale</a:t>
            </a:r>
          </a:p>
          <a:p>
            <a:pPr>
              <a:buFontTx/>
              <a:buChar char="-"/>
            </a:pPr>
            <a:r>
              <a:rPr lang="en-US" sz="2000" dirty="0"/>
              <a:t>Portal User identity and RBAC used (might be tricky to refine RBAC)</a:t>
            </a:r>
          </a:p>
          <a:p>
            <a:pPr>
              <a:buFontTx/>
              <a:buChar char="-"/>
            </a:pPr>
            <a:endParaRPr lang="en-US" sz="2000" dirty="0"/>
          </a:p>
          <a:p>
            <a:pPr>
              <a:buFontTx/>
              <a:buChar char="-"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97417801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0778EFC-CC57-4EF6-89FF-014E742142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0778EFC-CC57-4EF6-89FF-014E742142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ángulo 6175">
            <a:extLst>
              <a:ext uri="{FF2B5EF4-FFF2-40B4-BE49-F238E27FC236}">
                <a16:creationId xmlns:a16="http://schemas.microsoft.com/office/drawing/2014/main" id="{86A51F14-CEC0-4873-B851-90AD5CCD0617}"/>
              </a:ext>
            </a:extLst>
          </p:cNvPr>
          <p:cNvSpPr/>
          <p:nvPr/>
        </p:nvSpPr>
        <p:spPr>
          <a:xfrm>
            <a:off x="7913" y="4500462"/>
            <a:ext cx="12214702" cy="2387600"/>
          </a:xfrm>
          <a:prstGeom prst="rect">
            <a:avLst/>
          </a:pr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任意多边形: 形状 16">
            <a:extLst>
              <a:ext uri="{FF2B5EF4-FFF2-40B4-BE49-F238E27FC236}">
                <a16:creationId xmlns:a16="http://schemas.microsoft.com/office/drawing/2014/main" id="{049CEE6A-F0A8-4DFA-9341-6025BABA637D}"/>
              </a:ext>
            </a:extLst>
          </p:cNvPr>
          <p:cNvSpPr/>
          <p:nvPr/>
        </p:nvSpPr>
        <p:spPr>
          <a:xfrm>
            <a:off x="0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7" name="Freeform 46">
            <a:extLst>
              <a:ext uri="{FF2B5EF4-FFF2-40B4-BE49-F238E27FC236}">
                <a16:creationId xmlns:a16="http://schemas.microsoft.com/office/drawing/2014/main" id="{6FF0B403-FADC-424A-A227-59D6B88F2456}"/>
              </a:ext>
            </a:extLst>
          </p:cNvPr>
          <p:cNvSpPr/>
          <p:nvPr/>
        </p:nvSpPr>
        <p:spPr>
          <a:xfrm>
            <a:off x="655449" y="1252539"/>
            <a:ext cx="6833921" cy="4449489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B2A14CA-B27E-4A65-85F3-621B5BA14675}"/>
              </a:ext>
            </a:extLst>
          </p:cNvPr>
          <p:cNvSpPr/>
          <p:nvPr/>
        </p:nvSpPr>
        <p:spPr>
          <a:xfrm>
            <a:off x="1104477" y="0"/>
            <a:ext cx="1175537" cy="1385657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F1280CC-AF01-4FA6-9B49-8F44EB574ACE}"/>
              </a:ext>
            </a:extLst>
          </p:cNvPr>
          <p:cNvSpPr/>
          <p:nvPr/>
        </p:nvSpPr>
        <p:spPr>
          <a:xfrm>
            <a:off x="1104477" y="769023"/>
            <a:ext cx="1175537" cy="1175537"/>
          </a:xfrm>
          <a:prstGeom prst="ellipse">
            <a:avLst/>
          </a:prstGeom>
          <a:solidFill>
            <a:srgbClr val="D0101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EF99D574-3FCD-4173-937D-0FA446AEB9D2}"/>
              </a:ext>
            </a:extLst>
          </p:cNvPr>
          <p:cNvSpPr/>
          <p:nvPr/>
        </p:nvSpPr>
        <p:spPr>
          <a:xfrm>
            <a:off x="1324575" y="991834"/>
            <a:ext cx="729915" cy="72991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任意多边形: 形状 16">
            <a:extLst>
              <a:ext uri="{FF2B5EF4-FFF2-40B4-BE49-F238E27FC236}">
                <a16:creationId xmlns:a16="http://schemas.microsoft.com/office/drawing/2014/main" id="{CD17D5EF-C3CA-430D-8D78-9B7A4A92E88A}"/>
              </a:ext>
            </a:extLst>
          </p:cNvPr>
          <p:cNvSpPr/>
          <p:nvPr/>
        </p:nvSpPr>
        <p:spPr>
          <a:xfrm rot="16200000">
            <a:off x="8077322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任意多边形: 形状 16">
            <a:extLst>
              <a:ext uri="{FF2B5EF4-FFF2-40B4-BE49-F238E27FC236}">
                <a16:creationId xmlns:a16="http://schemas.microsoft.com/office/drawing/2014/main" id="{CC5943E8-7862-4DAC-87C4-7F35D6FBC9CD}"/>
              </a:ext>
            </a:extLst>
          </p:cNvPr>
          <p:cNvSpPr/>
          <p:nvPr/>
        </p:nvSpPr>
        <p:spPr>
          <a:xfrm rot="16200000">
            <a:off x="8077322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Rectángulo 6175">
            <a:extLst>
              <a:ext uri="{FF2B5EF4-FFF2-40B4-BE49-F238E27FC236}">
                <a16:creationId xmlns:a16="http://schemas.microsoft.com/office/drawing/2014/main" id="{8B9CA6E7-7271-4C1A-9106-2069F65592DD}"/>
              </a:ext>
            </a:extLst>
          </p:cNvPr>
          <p:cNvSpPr/>
          <p:nvPr/>
        </p:nvSpPr>
        <p:spPr>
          <a:xfrm>
            <a:off x="9681028" y="0"/>
            <a:ext cx="2533673" cy="68580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ángulo 6175">
            <a:extLst>
              <a:ext uri="{FF2B5EF4-FFF2-40B4-BE49-F238E27FC236}">
                <a16:creationId xmlns:a16="http://schemas.microsoft.com/office/drawing/2014/main" id="{63057CCC-8D68-4B3B-A6A3-B3A9F797FE6D}"/>
              </a:ext>
            </a:extLst>
          </p:cNvPr>
          <p:cNvSpPr/>
          <p:nvPr/>
        </p:nvSpPr>
        <p:spPr>
          <a:xfrm>
            <a:off x="11829143" y="0"/>
            <a:ext cx="385557" cy="6858000"/>
          </a:xfrm>
          <a:prstGeom prst="rect">
            <a:avLst/>
          </a:pr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任意多边形: 形状 16">
            <a:extLst>
              <a:ext uri="{FF2B5EF4-FFF2-40B4-BE49-F238E27FC236}">
                <a16:creationId xmlns:a16="http://schemas.microsoft.com/office/drawing/2014/main" id="{BFC38C69-061C-4D96-8765-E5AE867E3A82}"/>
              </a:ext>
            </a:extLst>
          </p:cNvPr>
          <p:cNvSpPr/>
          <p:nvPr/>
        </p:nvSpPr>
        <p:spPr>
          <a:xfrm rot="16200000">
            <a:off x="10254466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任意多边形: 形状 16">
            <a:extLst>
              <a:ext uri="{FF2B5EF4-FFF2-40B4-BE49-F238E27FC236}">
                <a16:creationId xmlns:a16="http://schemas.microsoft.com/office/drawing/2014/main" id="{1FE673F1-E8EA-4A14-BD79-3511A9C956BC}"/>
              </a:ext>
            </a:extLst>
          </p:cNvPr>
          <p:cNvSpPr/>
          <p:nvPr/>
        </p:nvSpPr>
        <p:spPr>
          <a:xfrm rot="16200000">
            <a:off x="10254466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Freeform 46">
            <a:extLst>
              <a:ext uri="{FF2B5EF4-FFF2-40B4-BE49-F238E27FC236}">
                <a16:creationId xmlns:a16="http://schemas.microsoft.com/office/drawing/2014/main" id="{69D15F79-29F9-45CC-9D3C-E64A8C4AE0FA}"/>
              </a:ext>
            </a:extLst>
          </p:cNvPr>
          <p:cNvSpPr/>
          <p:nvPr/>
        </p:nvSpPr>
        <p:spPr>
          <a:xfrm>
            <a:off x="6666889" y="1204256"/>
            <a:ext cx="5547811" cy="4449489"/>
          </a:xfrm>
          <a:custGeom>
            <a:avLst/>
            <a:gdLst>
              <a:gd name="connsiteX0" fmla="*/ 741596 w 6762750"/>
              <a:gd name="connsiteY0" fmla="*/ 0 h 4449489"/>
              <a:gd name="connsiteX1" fmla="*/ 6762750 w 6762750"/>
              <a:gd name="connsiteY1" fmla="*/ 0 h 4449489"/>
              <a:gd name="connsiteX2" fmla="*/ 6762750 w 6762750"/>
              <a:gd name="connsiteY2" fmla="*/ 4449489 h 4449489"/>
              <a:gd name="connsiteX3" fmla="*/ 741596 w 6762750"/>
              <a:gd name="connsiteY3" fmla="*/ 4449489 h 4449489"/>
              <a:gd name="connsiteX4" fmla="*/ 0 w 6762750"/>
              <a:gd name="connsiteY4" fmla="*/ 3707893 h 4449489"/>
              <a:gd name="connsiteX5" fmla="*/ 0 w 6762750"/>
              <a:gd name="connsiteY5" fmla="*/ 741596 h 4449489"/>
              <a:gd name="connsiteX6" fmla="*/ 741596 w 6762750"/>
              <a:gd name="connsiteY6" fmla="*/ 0 h 4449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62750" h="4449489">
                <a:moveTo>
                  <a:pt x="741596" y="0"/>
                </a:moveTo>
                <a:lnTo>
                  <a:pt x="6762750" y="0"/>
                </a:lnTo>
                <a:lnTo>
                  <a:pt x="6762750" y="4449489"/>
                </a:lnTo>
                <a:lnTo>
                  <a:pt x="741596" y="4449489"/>
                </a:lnTo>
                <a:cubicBezTo>
                  <a:pt x="332024" y="4449489"/>
                  <a:pt x="0" y="4117465"/>
                  <a:pt x="0" y="3707893"/>
                </a:cubicBezTo>
                <a:lnTo>
                  <a:pt x="0" y="741596"/>
                </a:lnTo>
                <a:cubicBezTo>
                  <a:pt x="0" y="332024"/>
                  <a:pt x="332024" y="0"/>
                  <a:pt x="741596" y="0"/>
                </a:cubicBez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A1F34D-EB98-4CAD-A1DE-7AC573B10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3613" y="2184696"/>
            <a:ext cx="4303725" cy="741568"/>
          </a:xfrm>
        </p:spPr>
        <p:txBody>
          <a:bodyPr lIns="0" rIns="0">
            <a:normAutofit/>
          </a:bodyPr>
          <a:lstStyle/>
          <a:p>
            <a:r>
              <a:rPr lang="en-US" sz="4400" b="1" dirty="0">
                <a:latin typeface="Segoe UI" panose="020B0502040204020203" pitchFamily="34" charset="0"/>
                <a:cs typeface="Segoe UI" panose="020B0502040204020203" pitchFamily="34" charset="0"/>
              </a:rPr>
              <a:t>Conclusions</a:t>
            </a: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0C835E6-5275-478D-B06E-63B529F28218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8EDDE3A-9B37-43A6-8AC5-022DDD0AA58E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0B669C6-75C7-488F-90E7-B0037991E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23</a:t>
            </a:fld>
            <a:endParaRPr lang="en-US" dirty="0"/>
          </a:p>
        </p:txBody>
      </p:sp>
      <p:pic>
        <p:nvPicPr>
          <p:cNvPr id="53" name="Picture 52" descr="Background pattern&#10;&#10;Description automatically generated">
            <a:extLst>
              <a:ext uri="{FF2B5EF4-FFF2-40B4-BE49-F238E27FC236}">
                <a16:creationId xmlns:a16="http://schemas.microsoft.com/office/drawing/2014/main" id="{E1377084-21E0-42A7-B144-A69CF5A6D83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92413" y="1385657"/>
            <a:ext cx="5322288" cy="4021639"/>
          </a:xfrm>
          <a:custGeom>
            <a:avLst/>
            <a:gdLst>
              <a:gd name="connsiteX0" fmla="*/ 655598 w 5978515"/>
              <a:gd name="connsiteY0" fmla="*/ 0 h 4021639"/>
              <a:gd name="connsiteX1" fmla="*/ 5978515 w 5978515"/>
              <a:gd name="connsiteY1" fmla="*/ 0 h 4021639"/>
              <a:gd name="connsiteX2" fmla="*/ 5978515 w 5978515"/>
              <a:gd name="connsiteY2" fmla="*/ 4021639 h 4021639"/>
              <a:gd name="connsiteX3" fmla="*/ 655598 w 5978515"/>
              <a:gd name="connsiteY3" fmla="*/ 4021639 h 4021639"/>
              <a:gd name="connsiteX4" fmla="*/ 0 w 5978515"/>
              <a:gd name="connsiteY4" fmla="*/ 3351353 h 4021639"/>
              <a:gd name="connsiteX5" fmla="*/ 0 w 5978515"/>
              <a:gd name="connsiteY5" fmla="*/ 670286 h 4021639"/>
              <a:gd name="connsiteX6" fmla="*/ 655598 w 5978515"/>
              <a:gd name="connsiteY6" fmla="*/ 0 h 4021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78515" h="4021639">
                <a:moveTo>
                  <a:pt x="655598" y="0"/>
                </a:moveTo>
                <a:lnTo>
                  <a:pt x="5978515" y="0"/>
                </a:lnTo>
                <a:lnTo>
                  <a:pt x="5978515" y="4021639"/>
                </a:lnTo>
                <a:lnTo>
                  <a:pt x="655598" y="4021639"/>
                </a:lnTo>
                <a:cubicBezTo>
                  <a:pt x="293521" y="4021639"/>
                  <a:pt x="0" y="3721542"/>
                  <a:pt x="0" y="3351353"/>
                </a:cubicBezTo>
                <a:lnTo>
                  <a:pt x="0" y="670286"/>
                </a:lnTo>
                <a:cubicBezTo>
                  <a:pt x="0" y="300098"/>
                  <a:pt x="293521" y="0"/>
                  <a:pt x="655598" y="0"/>
                </a:cubicBezTo>
                <a:close/>
              </a:path>
            </a:pathLst>
          </a:cu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09971475-858B-487D-8875-A846C5AC2D16}"/>
              </a:ext>
            </a:extLst>
          </p:cNvPr>
          <p:cNvGrpSpPr/>
          <p:nvPr/>
        </p:nvGrpSpPr>
        <p:grpSpPr>
          <a:xfrm>
            <a:off x="1495252" y="1172799"/>
            <a:ext cx="388560" cy="367985"/>
            <a:chOff x="2805113" y="2247901"/>
            <a:chExt cx="779462" cy="738188"/>
          </a:xfrm>
          <a:effectLst>
            <a:outerShdw dist="635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8" name="Freeform 78">
              <a:extLst>
                <a:ext uri="{FF2B5EF4-FFF2-40B4-BE49-F238E27FC236}">
                  <a16:creationId xmlns:a16="http://schemas.microsoft.com/office/drawing/2014/main" id="{B7664ACB-8C2A-436E-89EA-05BADF299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6725" y="2247901"/>
              <a:ext cx="577850" cy="738188"/>
            </a:xfrm>
            <a:custGeom>
              <a:avLst/>
              <a:gdLst>
                <a:gd name="T0" fmla="*/ 115 w 153"/>
                <a:gd name="T1" fmla="*/ 0 h 195"/>
                <a:gd name="T2" fmla="*/ 6 w 153"/>
                <a:gd name="T3" fmla="*/ 0 h 195"/>
                <a:gd name="T4" fmla="*/ 0 w 153"/>
                <a:gd name="T5" fmla="*/ 7 h 195"/>
                <a:gd name="T6" fmla="*/ 0 w 153"/>
                <a:gd name="T7" fmla="*/ 195 h 195"/>
                <a:gd name="T8" fmla="*/ 153 w 153"/>
                <a:gd name="T9" fmla="*/ 195 h 195"/>
                <a:gd name="T10" fmla="*/ 153 w 153"/>
                <a:gd name="T11" fmla="*/ 39 h 195"/>
                <a:gd name="T12" fmla="*/ 115 w 153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195">
                  <a:moveTo>
                    <a:pt x="11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153" y="195"/>
                    <a:pt x="153" y="195"/>
                    <a:pt x="153" y="195"/>
                  </a:cubicBezTo>
                  <a:cubicBezTo>
                    <a:pt x="153" y="39"/>
                    <a:pt x="153" y="39"/>
                    <a:pt x="153" y="39"/>
                  </a:cubicBezTo>
                  <a:lnTo>
                    <a:pt x="1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79">
              <a:extLst>
                <a:ext uri="{FF2B5EF4-FFF2-40B4-BE49-F238E27FC236}">
                  <a16:creationId xmlns:a16="http://schemas.microsoft.com/office/drawing/2014/main" id="{D93500A6-717D-481E-8FE5-C94376441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1700" y="2247901"/>
              <a:ext cx="142875" cy="147638"/>
            </a:xfrm>
            <a:custGeom>
              <a:avLst/>
              <a:gdLst>
                <a:gd name="T0" fmla="*/ 0 w 90"/>
                <a:gd name="T1" fmla="*/ 0 h 93"/>
                <a:gd name="T2" fmla="*/ 0 w 90"/>
                <a:gd name="T3" fmla="*/ 93 h 93"/>
                <a:gd name="T4" fmla="*/ 90 w 90"/>
                <a:gd name="T5" fmla="*/ 93 h 93"/>
                <a:gd name="T6" fmla="*/ 0 w 90"/>
                <a:gd name="T7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93">
                  <a:moveTo>
                    <a:pt x="0" y="0"/>
                  </a:moveTo>
                  <a:lnTo>
                    <a:pt x="0" y="93"/>
                  </a:lnTo>
                  <a:lnTo>
                    <a:pt x="90" y="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80">
              <a:extLst>
                <a:ext uri="{FF2B5EF4-FFF2-40B4-BE49-F238E27FC236}">
                  <a16:creationId xmlns:a16="http://schemas.microsoft.com/office/drawing/2014/main" id="{F83B5C6C-2A4B-4C64-BA1F-7B4883CCD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419351"/>
              <a:ext cx="242888" cy="22225"/>
            </a:xfrm>
            <a:custGeom>
              <a:avLst/>
              <a:gdLst>
                <a:gd name="T0" fmla="*/ 64 w 64"/>
                <a:gd name="T1" fmla="*/ 3 h 6"/>
                <a:gd name="T2" fmla="*/ 61 w 64"/>
                <a:gd name="T3" fmla="*/ 6 h 6"/>
                <a:gd name="T4" fmla="*/ 4 w 64"/>
                <a:gd name="T5" fmla="*/ 6 h 6"/>
                <a:gd name="T6" fmla="*/ 0 w 64"/>
                <a:gd name="T7" fmla="*/ 3 h 6"/>
                <a:gd name="T8" fmla="*/ 4 w 64"/>
                <a:gd name="T9" fmla="*/ 0 h 6"/>
                <a:gd name="T10" fmla="*/ 61 w 64"/>
                <a:gd name="T11" fmla="*/ 0 h 6"/>
                <a:gd name="T12" fmla="*/ 64 w 6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">
                  <a:moveTo>
                    <a:pt x="64" y="3"/>
                  </a:moveTo>
                  <a:cubicBezTo>
                    <a:pt x="64" y="5"/>
                    <a:pt x="63" y="6"/>
                    <a:pt x="61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4" y="1"/>
                    <a:pt x="6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81">
              <a:extLst>
                <a:ext uri="{FF2B5EF4-FFF2-40B4-BE49-F238E27FC236}">
                  <a16:creationId xmlns:a16="http://schemas.microsoft.com/office/drawing/2014/main" id="{05AD84B9-7AA3-44B9-B394-B0D64F4485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516188"/>
              <a:ext cx="390525" cy="23813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82">
              <a:extLst>
                <a:ext uri="{FF2B5EF4-FFF2-40B4-BE49-F238E27FC236}">
                  <a16:creationId xmlns:a16="http://schemas.microsoft.com/office/drawing/2014/main" id="{8CDBE542-6281-41A8-9DEB-B4824C2CC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611438"/>
              <a:ext cx="390525" cy="26988"/>
            </a:xfrm>
            <a:custGeom>
              <a:avLst/>
              <a:gdLst>
                <a:gd name="T0" fmla="*/ 103 w 103"/>
                <a:gd name="T1" fmla="*/ 3 h 7"/>
                <a:gd name="T2" fmla="*/ 100 w 103"/>
                <a:gd name="T3" fmla="*/ 7 h 7"/>
                <a:gd name="T4" fmla="*/ 4 w 103"/>
                <a:gd name="T5" fmla="*/ 7 h 7"/>
                <a:gd name="T6" fmla="*/ 0 w 103"/>
                <a:gd name="T7" fmla="*/ 3 h 7"/>
                <a:gd name="T8" fmla="*/ 4 w 103"/>
                <a:gd name="T9" fmla="*/ 0 h 7"/>
                <a:gd name="T10" fmla="*/ 100 w 103"/>
                <a:gd name="T11" fmla="*/ 0 h 7"/>
                <a:gd name="T12" fmla="*/ 103 w 103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7">
                  <a:moveTo>
                    <a:pt x="103" y="3"/>
                  </a:moveTo>
                  <a:cubicBezTo>
                    <a:pt x="103" y="5"/>
                    <a:pt x="101" y="7"/>
                    <a:pt x="100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2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83">
              <a:extLst>
                <a:ext uri="{FF2B5EF4-FFF2-40B4-BE49-F238E27FC236}">
                  <a16:creationId xmlns:a16="http://schemas.microsoft.com/office/drawing/2014/main" id="{00B99341-F351-46D3-984D-438D2C3901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709863"/>
              <a:ext cx="390525" cy="22225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84">
              <a:extLst>
                <a:ext uri="{FF2B5EF4-FFF2-40B4-BE49-F238E27FC236}">
                  <a16:creationId xmlns:a16="http://schemas.microsoft.com/office/drawing/2014/main" id="{355432A7-AEFA-47F1-B0A0-1345637B0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530225" cy="530225"/>
            </a:xfrm>
            <a:custGeom>
              <a:avLst/>
              <a:gdLst>
                <a:gd name="T0" fmla="*/ 131 w 140"/>
                <a:gd name="T1" fmla="*/ 90 h 140"/>
                <a:gd name="T2" fmla="*/ 51 w 140"/>
                <a:gd name="T3" fmla="*/ 11 h 140"/>
                <a:gd name="T4" fmla="*/ 49 w 140"/>
                <a:gd name="T5" fmla="*/ 9 h 140"/>
                <a:gd name="T6" fmla="*/ 11 w 140"/>
                <a:gd name="T7" fmla="*/ 11 h 140"/>
                <a:gd name="T8" fmla="*/ 11 w 140"/>
                <a:gd name="T9" fmla="*/ 11 h 140"/>
                <a:gd name="T10" fmla="*/ 9 w 140"/>
                <a:gd name="T11" fmla="*/ 49 h 140"/>
                <a:gd name="T12" fmla="*/ 11 w 140"/>
                <a:gd name="T13" fmla="*/ 52 h 140"/>
                <a:gd name="T14" fmla="*/ 90 w 140"/>
                <a:gd name="T15" fmla="*/ 131 h 140"/>
                <a:gd name="T16" fmla="*/ 122 w 140"/>
                <a:gd name="T17" fmla="*/ 140 h 140"/>
                <a:gd name="T18" fmla="*/ 129 w 140"/>
                <a:gd name="T19" fmla="*/ 129 h 140"/>
                <a:gd name="T20" fmla="*/ 140 w 140"/>
                <a:gd name="T21" fmla="*/ 122 h 140"/>
                <a:gd name="T22" fmla="*/ 131 w 140"/>
                <a:gd name="T23" fmla="*/ 9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0" h="140">
                  <a:moveTo>
                    <a:pt x="131" y="90"/>
                  </a:moveTo>
                  <a:cubicBezTo>
                    <a:pt x="51" y="11"/>
                    <a:pt x="51" y="11"/>
                    <a:pt x="51" y="11"/>
                  </a:cubicBezTo>
                  <a:cubicBezTo>
                    <a:pt x="51" y="10"/>
                    <a:pt x="50" y="10"/>
                    <a:pt x="49" y="9"/>
                  </a:cubicBezTo>
                  <a:cubicBezTo>
                    <a:pt x="38" y="0"/>
                    <a:pt x="22" y="0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0" y="22"/>
                    <a:pt x="0" y="38"/>
                    <a:pt x="9" y="49"/>
                  </a:cubicBezTo>
                  <a:cubicBezTo>
                    <a:pt x="9" y="50"/>
                    <a:pt x="10" y="51"/>
                    <a:pt x="11" y="52"/>
                  </a:cubicBezTo>
                  <a:cubicBezTo>
                    <a:pt x="90" y="131"/>
                    <a:pt x="90" y="131"/>
                    <a:pt x="90" y="13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3" y="136"/>
                    <a:pt x="125" y="132"/>
                    <a:pt x="129" y="129"/>
                  </a:cubicBezTo>
                  <a:cubicBezTo>
                    <a:pt x="132" y="126"/>
                    <a:pt x="136" y="123"/>
                    <a:pt x="140" y="122"/>
                  </a:cubicBezTo>
                  <a:lnTo>
                    <a:pt x="131" y="90"/>
                  </a:lnTo>
                  <a:close/>
                </a:path>
              </a:pathLst>
            </a:custGeom>
            <a:solidFill>
              <a:srgbClr val="F4D0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85">
              <a:extLst>
                <a:ext uri="{FF2B5EF4-FFF2-40B4-BE49-F238E27FC236}">
                  <a16:creationId xmlns:a16="http://schemas.microsoft.com/office/drawing/2014/main" id="{54DA4313-77E3-457F-8833-0662FC75B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185738" cy="185738"/>
            </a:xfrm>
            <a:custGeom>
              <a:avLst/>
              <a:gdLst>
                <a:gd name="T0" fmla="*/ 49 w 49"/>
                <a:gd name="T1" fmla="*/ 9 h 49"/>
                <a:gd name="T2" fmla="*/ 9 w 49"/>
                <a:gd name="T3" fmla="*/ 49 h 49"/>
                <a:gd name="T4" fmla="*/ 11 w 49"/>
                <a:gd name="T5" fmla="*/ 11 h 49"/>
                <a:gd name="T6" fmla="*/ 11 w 49"/>
                <a:gd name="T7" fmla="*/ 11 h 49"/>
                <a:gd name="T8" fmla="*/ 49 w 49"/>
                <a:gd name="T9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9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0" y="38"/>
                    <a:pt x="0" y="2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2" y="0"/>
                    <a:pt x="38" y="0"/>
                    <a:pt x="49" y="9"/>
                  </a:cubicBezTo>
                  <a:close/>
                </a:path>
              </a:pathLst>
            </a:custGeom>
            <a:solidFill>
              <a:srgbClr val="F7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86">
              <a:extLst>
                <a:ext uri="{FF2B5EF4-FFF2-40B4-BE49-F238E27FC236}">
                  <a16:creationId xmlns:a16="http://schemas.microsoft.com/office/drawing/2014/main" id="{614328DC-CA57-42F5-BE0C-7B5D3BB29E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075" y="2800351"/>
              <a:ext cx="90488" cy="90488"/>
            </a:xfrm>
            <a:custGeom>
              <a:avLst/>
              <a:gdLst>
                <a:gd name="T0" fmla="*/ 18 w 24"/>
                <a:gd name="T1" fmla="*/ 0 h 24"/>
                <a:gd name="T2" fmla="*/ 24 w 24"/>
                <a:gd name="T3" fmla="*/ 21 h 24"/>
                <a:gd name="T4" fmla="*/ 20 w 24"/>
                <a:gd name="T5" fmla="*/ 24 h 24"/>
                <a:gd name="T6" fmla="*/ 0 w 24"/>
                <a:gd name="T7" fmla="*/ 18 h 24"/>
                <a:gd name="T8" fmla="*/ 7 w 24"/>
                <a:gd name="T9" fmla="*/ 7 h 24"/>
                <a:gd name="T10" fmla="*/ 18 w 24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18" y="0"/>
                  </a:moveTo>
                  <a:cubicBezTo>
                    <a:pt x="24" y="21"/>
                    <a:pt x="24" y="21"/>
                    <a:pt x="24" y="21"/>
                  </a:cubicBezTo>
                  <a:cubicBezTo>
                    <a:pt x="24" y="23"/>
                    <a:pt x="22" y="24"/>
                    <a:pt x="20" y="2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4"/>
                    <a:pt x="3" y="10"/>
                    <a:pt x="7" y="7"/>
                  </a:cubicBezTo>
                  <a:cubicBezTo>
                    <a:pt x="10" y="4"/>
                    <a:pt x="14" y="1"/>
                    <a:pt x="18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87">
              <a:extLst>
                <a:ext uri="{FF2B5EF4-FFF2-40B4-BE49-F238E27FC236}">
                  <a16:creationId xmlns:a16="http://schemas.microsoft.com/office/drawing/2014/main" id="{6EC70ED2-58A2-4F0D-AB74-2621F9D02B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03476"/>
              <a:ext cx="434975" cy="427038"/>
            </a:xfrm>
            <a:custGeom>
              <a:avLst/>
              <a:gdLst>
                <a:gd name="T0" fmla="*/ 114 w 115"/>
                <a:gd name="T1" fmla="*/ 73 h 113"/>
                <a:gd name="T2" fmla="*/ 41 w 115"/>
                <a:gd name="T3" fmla="*/ 0 h 113"/>
                <a:gd name="T4" fmla="*/ 0 w 115"/>
                <a:gd name="T5" fmla="*/ 40 h 113"/>
                <a:gd name="T6" fmla="*/ 0 w 115"/>
                <a:gd name="T7" fmla="*/ 40 h 113"/>
                <a:gd name="T8" fmla="*/ 73 w 115"/>
                <a:gd name="T9" fmla="*/ 113 h 113"/>
                <a:gd name="T10" fmla="*/ 73 w 115"/>
                <a:gd name="T11" fmla="*/ 113 h 113"/>
                <a:gd name="T12" fmla="*/ 76 w 115"/>
                <a:gd name="T13" fmla="*/ 95 h 113"/>
                <a:gd name="T14" fmla="*/ 94 w 115"/>
                <a:gd name="T15" fmla="*/ 94 h 113"/>
                <a:gd name="T16" fmla="*/ 94 w 115"/>
                <a:gd name="T17" fmla="*/ 93 h 113"/>
                <a:gd name="T18" fmla="*/ 94 w 115"/>
                <a:gd name="T19" fmla="*/ 93 h 113"/>
                <a:gd name="T20" fmla="*/ 96 w 115"/>
                <a:gd name="T21" fmla="*/ 74 h 113"/>
                <a:gd name="T22" fmla="*/ 114 w 115"/>
                <a:gd name="T23" fmla="*/ 73 h 113"/>
                <a:gd name="T24" fmla="*/ 114 w 115"/>
                <a:gd name="T25" fmla="*/ 73 h 113"/>
                <a:gd name="T26" fmla="*/ 114 w 115"/>
                <a:gd name="T27" fmla="*/ 7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113">
                  <a:moveTo>
                    <a:pt x="114" y="73"/>
                  </a:moveTo>
                  <a:cubicBezTo>
                    <a:pt x="108" y="67"/>
                    <a:pt x="41" y="0"/>
                    <a:pt x="41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64" y="104"/>
                    <a:pt x="73" y="113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0" y="108"/>
                    <a:pt x="71" y="100"/>
                    <a:pt x="76" y="95"/>
                  </a:cubicBezTo>
                  <a:cubicBezTo>
                    <a:pt x="81" y="90"/>
                    <a:pt x="89" y="90"/>
                    <a:pt x="94" y="94"/>
                  </a:cubicBezTo>
                  <a:cubicBezTo>
                    <a:pt x="94" y="94"/>
                    <a:pt x="94" y="94"/>
                    <a:pt x="94" y="93"/>
                  </a:cubicBezTo>
                  <a:cubicBezTo>
                    <a:pt x="94" y="93"/>
                    <a:pt x="94" y="93"/>
                    <a:pt x="94" y="93"/>
                  </a:cubicBezTo>
                  <a:cubicBezTo>
                    <a:pt x="90" y="88"/>
                    <a:pt x="90" y="80"/>
                    <a:pt x="96" y="74"/>
                  </a:cubicBezTo>
                  <a:cubicBezTo>
                    <a:pt x="101" y="69"/>
                    <a:pt x="109" y="69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5" y="73"/>
                    <a:pt x="115" y="73"/>
                    <a:pt x="114" y="73"/>
                  </a:cubicBez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88">
              <a:extLst>
                <a:ext uri="{FF2B5EF4-FFF2-40B4-BE49-F238E27FC236}">
                  <a16:creationId xmlns:a16="http://schemas.microsoft.com/office/drawing/2014/main" id="{A6DF8AC2-542F-4D2D-8215-43A775290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038" y="2373313"/>
              <a:ext cx="180975" cy="180975"/>
            </a:xfrm>
            <a:custGeom>
              <a:avLst/>
              <a:gdLst>
                <a:gd name="T0" fmla="*/ 17 w 114"/>
                <a:gd name="T1" fmla="*/ 114 h 114"/>
                <a:gd name="T2" fmla="*/ 0 w 114"/>
                <a:gd name="T3" fmla="*/ 98 h 114"/>
                <a:gd name="T4" fmla="*/ 95 w 114"/>
                <a:gd name="T5" fmla="*/ 0 h 114"/>
                <a:gd name="T6" fmla="*/ 114 w 114"/>
                <a:gd name="T7" fmla="*/ 19 h 114"/>
                <a:gd name="T8" fmla="*/ 17 w 114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14">
                  <a:moveTo>
                    <a:pt x="17" y="114"/>
                  </a:moveTo>
                  <a:lnTo>
                    <a:pt x="0" y="98"/>
                  </a:lnTo>
                  <a:lnTo>
                    <a:pt x="95" y="0"/>
                  </a:lnTo>
                  <a:lnTo>
                    <a:pt x="114" y="19"/>
                  </a:lnTo>
                  <a:lnTo>
                    <a:pt x="17" y="114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89">
              <a:extLst>
                <a:ext uri="{FF2B5EF4-FFF2-40B4-BE49-F238E27FC236}">
                  <a16:creationId xmlns:a16="http://schemas.microsoft.com/office/drawing/2014/main" id="{CC3503D2-7FCA-415E-8388-238A74A3A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79676"/>
              <a:ext cx="355600" cy="350838"/>
            </a:xfrm>
            <a:custGeom>
              <a:avLst/>
              <a:gdLst>
                <a:gd name="T0" fmla="*/ 0 w 94"/>
                <a:gd name="T1" fmla="*/ 20 h 93"/>
                <a:gd name="T2" fmla="*/ 73 w 94"/>
                <a:gd name="T3" fmla="*/ 93 h 93"/>
                <a:gd name="T4" fmla="*/ 73 w 94"/>
                <a:gd name="T5" fmla="*/ 93 h 93"/>
                <a:gd name="T6" fmla="*/ 76 w 94"/>
                <a:gd name="T7" fmla="*/ 75 h 93"/>
                <a:gd name="T8" fmla="*/ 94 w 94"/>
                <a:gd name="T9" fmla="*/ 74 h 93"/>
                <a:gd name="T10" fmla="*/ 94 w 94"/>
                <a:gd name="T11" fmla="*/ 73 h 93"/>
                <a:gd name="T12" fmla="*/ 21 w 94"/>
                <a:gd name="T13" fmla="*/ 0 h 93"/>
                <a:gd name="T14" fmla="*/ 0 w 94"/>
                <a:gd name="T15" fmla="*/ 2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93">
                  <a:moveTo>
                    <a:pt x="0" y="20"/>
                  </a:moveTo>
                  <a:cubicBezTo>
                    <a:pt x="0" y="20"/>
                    <a:pt x="64" y="84"/>
                    <a:pt x="73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0" y="88"/>
                    <a:pt x="71" y="80"/>
                    <a:pt x="76" y="75"/>
                  </a:cubicBezTo>
                  <a:cubicBezTo>
                    <a:pt x="81" y="70"/>
                    <a:pt x="89" y="70"/>
                    <a:pt x="94" y="74"/>
                  </a:cubicBezTo>
                  <a:cubicBezTo>
                    <a:pt x="94" y="74"/>
                    <a:pt x="94" y="73"/>
                    <a:pt x="94" y="73"/>
                  </a:cubicBezTo>
                  <a:cubicBezTo>
                    <a:pt x="21" y="0"/>
                    <a:pt x="21" y="0"/>
                    <a:pt x="21" y="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9" name="Title 1">
            <a:extLst>
              <a:ext uri="{FF2B5EF4-FFF2-40B4-BE49-F238E27FC236}">
                <a16:creationId xmlns:a16="http://schemas.microsoft.com/office/drawing/2014/main" id="{01381D6B-0A38-4E06-8506-A342F6A017DB}"/>
              </a:ext>
            </a:extLst>
          </p:cNvPr>
          <p:cNvSpPr txBox="1">
            <a:spLocks/>
          </p:cNvSpPr>
          <p:nvPr/>
        </p:nvSpPr>
        <p:spPr>
          <a:xfrm>
            <a:off x="1104477" y="3400111"/>
            <a:ext cx="4303725" cy="10055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TS everywhere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TS for non prod</a:t>
            </a:r>
          </a:p>
        </p:txBody>
      </p:sp>
      <p:pic>
        <p:nvPicPr>
          <p:cNvPr id="6" name="Picture 5" descr="A logo with a rocket in the middle&#10;&#10;Description automatically generated">
            <a:extLst>
              <a:ext uri="{FF2B5EF4-FFF2-40B4-BE49-F238E27FC236}">
                <a16:creationId xmlns:a16="http://schemas.microsoft.com/office/drawing/2014/main" id="{9369FFAB-2683-35E8-61F5-DA2E3FC9CF1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8754" y="5712409"/>
            <a:ext cx="2037046" cy="916017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203753DF-B9CD-6766-A941-CC078E8576E8}"/>
              </a:ext>
            </a:extLst>
          </p:cNvPr>
          <p:cNvSpPr txBox="1">
            <a:spLocks/>
          </p:cNvSpPr>
          <p:nvPr/>
        </p:nvSpPr>
        <p:spPr>
          <a:xfrm>
            <a:off x="1104477" y="5151913"/>
            <a:ext cx="4303725" cy="41208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How applicable are they…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9E8AF3D-1EAF-3D92-3CFA-C4A590B5AFD8}"/>
              </a:ext>
            </a:extLst>
          </p:cNvPr>
          <p:cNvGrpSpPr/>
          <p:nvPr/>
        </p:nvGrpSpPr>
        <p:grpSpPr>
          <a:xfrm>
            <a:off x="8034914" y="2225539"/>
            <a:ext cx="2827770" cy="2409877"/>
            <a:chOff x="10369550" y="5518150"/>
            <a:chExt cx="779463" cy="779463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04" name="Freeform 231">
              <a:extLst>
                <a:ext uri="{FF2B5EF4-FFF2-40B4-BE49-F238E27FC236}">
                  <a16:creationId xmlns:a16="http://schemas.microsoft.com/office/drawing/2014/main" id="{C9781F0F-166A-A156-9B94-A648477323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9550" y="5956300"/>
              <a:ext cx="336550" cy="341313"/>
            </a:xfrm>
            <a:custGeom>
              <a:avLst/>
              <a:gdLst>
                <a:gd name="T0" fmla="*/ 89 w 89"/>
                <a:gd name="T1" fmla="*/ 26 h 90"/>
                <a:gd name="T2" fmla="*/ 33 w 89"/>
                <a:gd name="T3" fmla="*/ 83 h 90"/>
                <a:gd name="T4" fmla="*/ 7 w 89"/>
                <a:gd name="T5" fmla="*/ 83 h 90"/>
                <a:gd name="T6" fmla="*/ 7 w 89"/>
                <a:gd name="T7" fmla="*/ 57 h 90"/>
                <a:gd name="T8" fmla="*/ 64 w 89"/>
                <a:gd name="T9" fmla="*/ 0 h 90"/>
                <a:gd name="T10" fmla="*/ 89 w 89"/>
                <a:gd name="T11" fmla="*/ 2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90">
                  <a:moveTo>
                    <a:pt x="89" y="26"/>
                  </a:moveTo>
                  <a:cubicBezTo>
                    <a:pt x="33" y="83"/>
                    <a:pt x="33" y="83"/>
                    <a:pt x="33" y="83"/>
                  </a:cubicBezTo>
                  <a:cubicBezTo>
                    <a:pt x="25" y="90"/>
                    <a:pt x="14" y="90"/>
                    <a:pt x="7" y="83"/>
                  </a:cubicBezTo>
                  <a:cubicBezTo>
                    <a:pt x="0" y="75"/>
                    <a:pt x="0" y="64"/>
                    <a:pt x="7" y="5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0" y="11"/>
                    <a:pt x="79" y="19"/>
                    <a:pt x="89" y="26"/>
                  </a:cubicBezTo>
                  <a:close/>
                </a:path>
              </a:pathLst>
            </a:custGeom>
            <a:solidFill>
              <a:srgbClr val="8446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" name="Freeform 232">
              <a:extLst>
                <a:ext uri="{FF2B5EF4-FFF2-40B4-BE49-F238E27FC236}">
                  <a16:creationId xmlns:a16="http://schemas.microsoft.com/office/drawing/2014/main" id="{D07925B3-D07E-5682-2CD8-D26250059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9550" y="5956300"/>
              <a:ext cx="284163" cy="311150"/>
            </a:xfrm>
            <a:custGeom>
              <a:avLst/>
              <a:gdLst>
                <a:gd name="T0" fmla="*/ 75 w 75"/>
                <a:gd name="T1" fmla="*/ 14 h 82"/>
                <a:gd name="T2" fmla="*/ 7 w 75"/>
                <a:gd name="T3" fmla="*/ 82 h 82"/>
                <a:gd name="T4" fmla="*/ 7 w 75"/>
                <a:gd name="T5" fmla="*/ 57 h 82"/>
                <a:gd name="T6" fmla="*/ 64 w 75"/>
                <a:gd name="T7" fmla="*/ 0 h 82"/>
                <a:gd name="T8" fmla="*/ 75 w 75"/>
                <a:gd name="T9" fmla="*/ 1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82">
                  <a:moveTo>
                    <a:pt x="75" y="14"/>
                  </a:moveTo>
                  <a:cubicBezTo>
                    <a:pt x="7" y="82"/>
                    <a:pt x="7" y="82"/>
                    <a:pt x="7" y="82"/>
                  </a:cubicBezTo>
                  <a:cubicBezTo>
                    <a:pt x="0" y="75"/>
                    <a:pt x="0" y="64"/>
                    <a:pt x="7" y="5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7" y="5"/>
                    <a:pt x="71" y="10"/>
                    <a:pt x="75" y="14"/>
                  </a:cubicBezTo>
                  <a:close/>
                </a:path>
              </a:pathLst>
            </a:custGeom>
            <a:solidFill>
              <a:srgbClr val="9C6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" name="Freeform 233">
              <a:extLst>
                <a:ext uri="{FF2B5EF4-FFF2-40B4-BE49-F238E27FC236}">
                  <a16:creationId xmlns:a16="http://schemas.microsoft.com/office/drawing/2014/main" id="{344D02D9-C805-3125-FADF-63ACDB6AE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9575" y="5518150"/>
              <a:ext cx="579438" cy="577850"/>
            </a:xfrm>
            <a:custGeom>
              <a:avLst/>
              <a:gdLst>
                <a:gd name="T0" fmla="*/ 153 w 153"/>
                <a:gd name="T1" fmla="*/ 76 h 153"/>
                <a:gd name="T2" fmla="*/ 77 w 153"/>
                <a:gd name="T3" fmla="*/ 153 h 153"/>
                <a:gd name="T4" fmla="*/ 0 w 153"/>
                <a:gd name="T5" fmla="*/ 76 h 153"/>
                <a:gd name="T6" fmla="*/ 77 w 153"/>
                <a:gd name="T7" fmla="*/ 0 h 153"/>
                <a:gd name="T8" fmla="*/ 153 w 153"/>
                <a:gd name="T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cubicBezTo>
                    <a:pt x="153" y="119"/>
                    <a:pt x="119" y="153"/>
                    <a:pt x="77" y="153"/>
                  </a:cubicBezTo>
                  <a:cubicBezTo>
                    <a:pt x="34" y="153"/>
                    <a:pt x="0" y="118"/>
                    <a:pt x="0" y="76"/>
                  </a:cubicBezTo>
                  <a:cubicBezTo>
                    <a:pt x="0" y="34"/>
                    <a:pt x="34" y="0"/>
                    <a:pt x="77" y="0"/>
                  </a:cubicBezTo>
                  <a:cubicBezTo>
                    <a:pt x="119" y="0"/>
                    <a:pt x="153" y="34"/>
                    <a:pt x="153" y="76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8" name="Oval 234">
              <a:extLst>
                <a:ext uri="{FF2B5EF4-FFF2-40B4-BE49-F238E27FC236}">
                  <a16:creationId xmlns:a16="http://schemas.microsoft.com/office/drawing/2014/main" id="{3E0BFF5F-04A7-F1F6-715B-17B0A469F4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29900" y="5578475"/>
              <a:ext cx="458788" cy="457200"/>
            </a:xfrm>
            <a:prstGeom prst="ellipse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9" name="Freeform 235">
              <a:extLst>
                <a:ext uri="{FF2B5EF4-FFF2-40B4-BE49-F238E27FC236}">
                  <a16:creationId xmlns:a16="http://schemas.microsoft.com/office/drawing/2014/main" id="{32A5A03E-CCCF-675C-462D-53DA7371C9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9900" y="5578475"/>
              <a:ext cx="390525" cy="388938"/>
            </a:xfrm>
            <a:custGeom>
              <a:avLst/>
              <a:gdLst>
                <a:gd name="T0" fmla="*/ 0 w 103"/>
                <a:gd name="T1" fmla="*/ 60 h 103"/>
                <a:gd name="T2" fmla="*/ 61 w 103"/>
                <a:gd name="T3" fmla="*/ 0 h 103"/>
                <a:gd name="T4" fmla="*/ 103 w 103"/>
                <a:gd name="T5" fmla="*/ 17 h 103"/>
                <a:gd name="T6" fmla="*/ 17 w 103"/>
                <a:gd name="T7" fmla="*/ 103 h 103"/>
                <a:gd name="T8" fmla="*/ 0 w 103"/>
                <a:gd name="T9" fmla="*/ 6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103">
                  <a:moveTo>
                    <a:pt x="0" y="60"/>
                  </a:moveTo>
                  <a:cubicBezTo>
                    <a:pt x="0" y="27"/>
                    <a:pt x="27" y="0"/>
                    <a:pt x="61" y="0"/>
                  </a:cubicBezTo>
                  <a:cubicBezTo>
                    <a:pt x="77" y="0"/>
                    <a:pt x="92" y="6"/>
                    <a:pt x="103" y="17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6" y="92"/>
                    <a:pt x="0" y="77"/>
                    <a:pt x="0" y="60"/>
                  </a:cubicBezTo>
                  <a:close/>
                </a:path>
              </a:pathLst>
            </a:custGeom>
            <a:solidFill>
              <a:srgbClr val="6F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59758326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Template Specs </a:t>
            </a:r>
            <a:r>
              <a:rPr lang="en-US" b="1" dirty="0">
                <a:latin typeface="Segoe UI" panose="020B0502040204020203" pitchFamily="34" charset="0"/>
                <a:cs typeface="Segoe UI" panose="020B0502040204020203" pitchFamily="34" charset="0"/>
              </a:rPr>
              <a:t>everywhere scenari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792687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What does that means? – UI form development might be unnecessary in large enterprises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4</a:t>
            </a:fld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3103689" y="2552293"/>
            <a:ext cx="1291179" cy="1287835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E970DDF6-1DAA-110B-AD62-F1DB1D9FB745}"/>
              </a:ext>
            </a:extLst>
          </p:cNvPr>
          <p:cNvSpPr txBox="1"/>
          <p:nvPr/>
        </p:nvSpPr>
        <p:spPr>
          <a:xfrm>
            <a:off x="3094214" y="3705633"/>
            <a:ext cx="1309782" cy="369332"/>
          </a:xfrm>
          <a:custGeom>
            <a:avLst/>
            <a:gdLst>
              <a:gd name="connsiteX0" fmla="*/ 0 w 1309782"/>
              <a:gd name="connsiteY0" fmla="*/ 0 h 369332"/>
              <a:gd name="connsiteX1" fmla="*/ 423496 w 1309782"/>
              <a:gd name="connsiteY1" fmla="*/ 0 h 369332"/>
              <a:gd name="connsiteX2" fmla="*/ 820797 w 1309782"/>
              <a:gd name="connsiteY2" fmla="*/ 0 h 369332"/>
              <a:gd name="connsiteX3" fmla="*/ 1309782 w 1309782"/>
              <a:gd name="connsiteY3" fmla="*/ 0 h 369332"/>
              <a:gd name="connsiteX4" fmla="*/ 1309782 w 1309782"/>
              <a:gd name="connsiteY4" fmla="*/ 369332 h 369332"/>
              <a:gd name="connsiteX5" fmla="*/ 899384 w 1309782"/>
              <a:gd name="connsiteY5" fmla="*/ 369332 h 369332"/>
              <a:gd name="connsiteX6" fmla="*/ 436594 w 1309782"/>
              <a:gd name="connsiteY6" fmla="*/ 369332 h 369332"/>
              <a:gd name="connsiteX7" fmla="*/ 0 w 1309782"/>
              <a:gd name="connsiteY7" fmla="*/ 369332 h 369332"/>
              <a:gd name="connsiteX8" fmla="*/ 0 w 1309782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09782" h="369332" extrusionOk="0">
                <a:moveTo>
                  <a:pt x="0" y="0"/>
                </a:moveTo>
                <a:cubicBezTo>
                  <a:pt x="204308" y="-29665"/>
                  <a:pt x="324457" y="17556"/>
                  <a:pt x="423496" y="0"/>
                </a:cubicBezTo>
                <a:cubicBezTo>
                  <a:pt x="522535" y="-17556"/>
                  <a:pt x="722519" y="14831"/>
                  <a:pt x="820797" y="0"/>
                </a:cubicBezTo>
                <a:cubicBezTo>
                  <a:pt x="919075" y="-14831"/>
                  <a:pt x="1149409" y="15804"/>
                  <a:pt x="1309782" y="0"/>
                </a:cubicBezTo>
                <a:cubicBezTo>
                  <a:pt x="1345370" y="113493"/>
                  <a:pt x="1282975" y="197069"/>
                  <a:pt x="1309782" y="369332"/>
                </a:cubicBezTo>
                <a:cubicBezTo>
                  <a:pt x="1117518" y="406901"/>
                  <a:pt x="983143" y="337387"/>
                  <a:pt x="899384" y="369332"/>
                </a:cubicBezTo>
                <a:cubicBezTo>
                  <a:pt x="815625" y="401277"/>
                  <a:pt x="570308" y="331595"/>
                  <a:pt x="436594" y="369332"/>
                </a:cubicBezTo>
                <a:cubicBezTo>
                  <a:pt x="302880" y="407069"/>
                  <a:pt x="138159" y="35149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Portal User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4C819CB-44CB-D33A-9824-A4E4EB4E3B08}"/>
              </a:ext>
            </a:extLst>
          </p:cNvPr>
          <p:cNvGrpSpPr/>
          <p:nvPr/>
        </p:nvGrpSpPr>
        <p:grpSpPr>
          <a:xfrm>
            <a:off x="5300020" y="2937559"/>
            <a:ext cx="2397874" cy="2733316"/>
            <a:chOff x="4187983" y="2655114"/>
            <a:chExt cx="2397874" cy="2733316"/>
          </a:xfrm>
        </p:grpSpPr>
        <p:sp>
          <p:nvSpPr>
            <p:cNvPr id="24" name="Content Placeholder 2">
              <a:extLst>
                <a:ext uri="{FF2B5EF4-FFF2-40B4-BE49-F238E27FC236}">
                  <a16:creationId xmlns:a16="http://schemas.microsoft.com/office/drawing/2014/main" id="{C2FC9430-89FA-B6F5-FF73-09BF4CD95552}"/>
                </a:ext>
              </a:extLst>
            </p:cNvPr>
            <p:cNvSpPr txBox="1">
              <a:spLocks/>
            </p:cNvSpPr>
            <p:nvPr/>
          </p:nvSpPr>
          <p:spPr>
            <a:xfrm>
              <a:off x="4398363" y="4349404"/>
              <a:ext cx="2053029" cy="856986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anose="020B0604020202020204" pitchFamily="34" charset="0"/>
                <a:buNone/>
              </a:pPr>
              <a:r>
                <a:rPr lang="en-US" sz="20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template.ui.json</a:t>
              </a:r>
              <a:endParaRPr lang="en-US" sz="20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indent="0">
                <a:buFont typeface="Arial" panose="020B0604020202020204" pitchFamily="34" charset="0"/>
                <a:buNone/>
              </a:pPr>
              <a:r>
                <a:rPr lang="en-US" sz="20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template.bicep</a:t>
              </a:r>
              <a:endParaRPr lang="en-US" sz="20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indent="0">
                <a:buFont typeface="Arial" panose="020B0604020202020204" pitchFamily="34" charset="0"/>
                <a:buNone/>
              </a:pPr>
              <a:endParaRPr lang="en-US" sz="20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F24EF291-C501-D101-0029-071EE9043CF4}"/>
                </a:ext>
              </a:extLst>
            </p:cNvPr>
            <p:cNvSpPr/>
            <p:nvPr/>
          </p:nvSpPr>
          <p:spPr>
            <a:xfrm>
              <a:off x="4187983" y="2655114"/>
              <a:ext cx="2397874" cy="2733316"/>
            </a:xfrm>
            <a:custGeom>
              <a:avLst/>
              <a:gdLst>
                <a:gd name="connsiteX0" fmla="*/ 0 w 2397874"/>
                <a:gd name="connsiteY0" fmla="*/ 399654 h 2733316"/>
                <a:gd name="connsiteX1" fmla="*/ 399654 w 2397874"/>
                <a:gd name="connsiteY1" fmla="*/ 0 h 2733316"/>
                <a:gd name="connsiteX2" fmla="*/ 964481 w 2397874"/>
                <a:gd name="connsiteY2" fmla="*/ 0 h 2733316"/>
                <a:gd name="connsiteX3" fmla="*/ 1481350 w 2397874"/>
                <a:gd name="connsiteY3" fmla="*/ 0 h 2733316"/>
                <a:gd name="connsiteX4" fmla="*/ 1998220 w 2397874"/>
                <a:gd name="connsiteY4" fmla="*/ 0 h 2733316"/>
                <a:gd name="connsiteX5" fmla="*/ 2397874 w 2397874"/>
                <a:gd name="connsiteY5" fmla="*/ 399654 h 2733316"/>
                <a:gd name="connsiteX6" fmla="*/ 2397874 w 2397874"/>
                <a:gd name="connsiteY6" fmla="*/ 844476 h 2733316"/>
                <a:gd name="connsiteX7" fmla="*/ 2397874 w 2397874"/>
                <a:gd name="connsiteY7" fmla="*/ 1289298 h 2733316"/>
                <a:gd name="connsiteX8" fmla="*/ 2397874 w 2397874"/>
                <a:gd name="connsiteY8" fmla="*/ 1811480 h 2733316"/>
                <a:gd name="connsiteX9" fmla="*/ 2397874 w 2397874"/>
                <a:gd name="connsiteY9" fmla="*/ 2333662 h 2733316"/>
                <a:gd name="connsiteX10" fmla="*/ 1998220 w 2397874"/>
                <a:gd name="connsiteY10" fmla="*/ 2733316 h 2733316"/>
                <a:gd name="connsiteX11" fmla="*/ 1449379 w 2397874"/>
                <a:gd name="connsiteY11" fmla="*/ 2733316 h 2733316"/>
                <a:gd name="connsiteX12" fmla="*/ 884552 w 2397874"/>
                <a:gd name="connsiteY12" fmla="*/ 2733316 h 2733316"/>
                <a:gd name="connsiteX13" fmla="*/ 399654 w 2397874"/>
                <a:gd name="connsiteY13" fmla="*/ 2733316 h 2733316"/>
                <a:gd name="connsiteX14" fmla="*/ 0 w 2397874"/>
                <a:gd name="connsiteY14" fmla="*/ 2333662 h 2733316"/>
                <a:gd name="connsiteX15" fmla="*/ 0 w 2397874"/>
                <a:gd name="connsiteY15" fmla="*/ 1830820 h 2733316"/>
                <a:gd name="connsiteX16" fmla="*/ 0 w 2397874"/>
                <a:gd name="connsiteY16" fmla="*/ 1347318 h 2733316"/>
                <a:gd name="connsiteX17" fmla="*/ 0 w 2397874"/>
                <a:gd name="connsiteY17" fmla="*/ 921836 h 2733316"/>
                <a:gd name="connsiteX18" fmla="*/ 0 w 2397874"/>
                <a:gd name="connsiteY18" fmla="*/ 399654 h 2733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97874" h="2733316" extrusionOk="0">
                  <a:moveTo>
                    <a:pt x="0" y="399654"/>
                  </a:moveTo>
                  <a:cubicBezTo>
                    <a:pt x="-10482" y="172466"/>
                    <a:pt x="152588" y="9887"/>
                    <a:pt x="399654" y="0"/>
                  </a:cubicBezTo>
                  <a:cubicBezTo>
                    <a:pt x="540667" y="-11066"/>
                    <a:pt x="695052" y="22642"/>
                    <a:pt x="964481" y="0"/>
                  </a:cubicBezTo>
                  <a:cubicBezTo>
                    <a:pt x="1233910" y="-22642"/>
                    <a:pt x="1262477" y="1226"/>
                    <a:pt x="1481350" y="0"/>
                  </a:cubicBezTo>
                  <a:cubicBezTo>
                    <a:pt x="1700223" y="-1226"/>
                    <a:pt x="1885382" y="38571"/>
                    <a:pt x="1998220" y="0"/>
                  </a:cubicBezTo>
                  <a:cubicBezTo>
                    <a:pt x="2208875" y="-32428"/>
                    <a:pt x="2403850" y="156817"/>
                    <a:pt x="2397874" y="399654"/>
                  </a:cubicBezTo>
                  <a:cubicBezTo>
                    <a:pt x="2451140" y="558425"/>
                    <a:pt x="2388997" y="726433"/>
                    <a:pt x="2397874" y="844476"/>
                  </a:cubicBezTo>
                  <a:cubicBezTo>
                    <a:pt x="2406751" y="962519"/>
                    <a:pt x="2384850" y="1113238"/>
                    <a:pt x="2397874" y="1289298"/>
                  </a:cubicBezTo>
                  <a:cubicBezTo>
                    <a:pt x="2410898" y="1465358"/>
                    <a:pt x="2368204" y="1643424"/>
                    <a:pt x="2397874" y="1811480"/>
                  </a:cubicBezTo>
                  <a:cubicBezTo>
                    <a:pt x="2427544" y="1979536"/>
                    <a:pt x="2355214" y="2219126"/>
                    <a:pt x="2397874" y="2333662"/>
                  </a:cubicBezTo>
                  <a:cubicBezTo>
                    <a:pt x="2391322" y="2554010"/>
                    <a:pt x="2223980" y="2719503"/>
                    <a:pt x="1998220" y="2733316"/>
                  </a:cubicBezTo>
                  <a:cubicBezTo>
                    <a:pt x="1778184" y="2765386"/>
                    <a:pt x="1564337" y="2673273"/>
                    <a:pt x="1449379" y="2733316"/>
                  </a:cubicBezTo>
                  <a:cubicBezTo>
                    <a:pt x="1334421" y="2793359"/>
                    <a:pt x="1041443" y="2685170"/>
                    <a:pt x="884552" y="2733316"/>
                  </a:cubicBezTo>
                  <a:cubicBezTo>
                    <a:pt x="727661" y="2781462"/>
                    <a:pt x="548119" y="2732036"/>
                    <a:pt x="399654" y="2733316"/>
                  </a:cubicBezTo>
                  <a:cubicBezTo>
                    <a:pt x="128869" y="2741537"/>
                    <a:pt x="-27707" y="2535268"/>
                    <a:pt x="0" y="2333662"/>
                  </a:cubicBezTo>
                  <a:cubicBezTo>
                    <a:pt x="-46360" y="2218243"/>
                    <a:pt x="59734" y="2029316"/>
                    <a:pt x="0" y="1830820"/>
                  </a:cubicBezTo>
                  <a:cubicBezTo>
                    <a:pt x="-59734" y="1632324"/>
                    <a:pt x="6734" y="1552325"/>
                    <a:pt x="0" y="1347318"/>
                  </a:cubicBezTo>
                  <a:cubicBezTo>
                    <a:pt x="-6734" y="1142311"/>
                    <a:pt x="44272" y="1098623"/>
                    <a:pt x="0" y="921836"/>
                  </a:cubicBezTo>
                  <a:cubicBezTo>
                    <a:pt x="-44272" y="745049"/>
                    <a:pt x="59653" y="639142"/>
                    <a:pt x="0" y="399654"/>
                  </a:cubicBezTo>
                  <a:close/>
                </a:path>
              </a:pathLst>
            </a:custGeom>
            <a:noFill/>
            <a:ln w="25400"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Scribble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635B091D-0AC3-8352-5FC4-534BEEAB9F6D}"/>
                </a:ext>
              </a:extLst>
            </p:cNvPr>
            <p:cNvGrpSpPr/>
            <p:nvPr/>
          </p:nvGrpSpPr>
          <p:grpSpPr>
            <a:xfrm>
              <a:off x="4821882" y="2814862"/>
              <a:ext cx="1205990" cy="1353021"/>
              <a:chOff x="6618867" y="3226748"/>
              <a:chExt cx="1025861" cy="1089287"/>
            </a:xfrm>
          </p:grpSpPr>
          <p:pic>
            <p:nvPicPr>
              <p:cNvPr id="6" name="Picture 5">
                <a:extLst>
                  <a:ext uri="{FF2B5EF4-FFF2-40B4-BE49-F238E27FC236}">
                    <a16:creationId xmlns:a16="http://schemas.microsoft.com/office/drawing/2014/main" id="{8B4128EE-DA62-3C7D-8014-A881FECF1B9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868572" y="3226748"/>
                <a:ext cx="776156" cy="88703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3B3078C3-8143-909C-2BEE-0B8CD50B3DF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58686" y="3315374"/>
                <a:ext cx="776156" cy="88703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36C88CD1-5045-3A5E-AD25-30704E22BD0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18867" y="3429000"/>
                <a:ext cx="776156" cy="88703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6F126B8A-93B9-D2F9-F159-4B8D2A75B3DD}"/>
              </a:ext>
            </a:extLst>
          </p:cNvPr>
          <p:cNvGrpSpPr/>
          <p:nvPr/>
        </p:nvGrpSpPr>
        <p:grpSpPr>
          <a:xfrm>
            <a:off x="8235766" y="2552293"/>
            <a:ext cx="3226438" cy="3168521"/>
            <a:chOff x="7532914" y="2526460"/>
            <a:chExt cx="3226438" cy="3168521"/>
          </a:xfrm>
        </p:grpSpPr>
        <p:pic>
          <p:nvPicPr>
            <p:cNvPr id="15" name="Picture 14" descr="A blue letter a made of toy building blocks&#10;&#10;Description automatically generated">
              <a:extLst>
                <a:ext uri="{FF2B5EF4-FFF2-40B4-BE49-F238E27FC236}">
                  <a16:creationId xmlns:a16="http://schemas.microsoft.com/office/drawing/2014/main" id="{FCC4914A-A8C0-9BC5-4089-27074B66A77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97925" y="2526460"/>
              <a:ext cx="1963754" cy="1963754"/>
            </a:xfrm>
            <a:prstGeom prst="rect">
              <a:avLst/>
            </a:prstGeom>
          </p:spPr>
        </p:pic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4804B82E-E9C1-DD3E-AEBA-9A64F4356BD5}"/>
                </a:ext>
              </a:extLst>
            </p:cNvPr>
            <p:cNvSpPr/>
            <p:nvPr/>
          </p:nvSpPr>
          <p:spPr>
            <a:xfrm>
              <a:off x="8729254" y="4337825"/>
              <a:ext cx="1270677" cy="386034"/>
            </a:xfrm>
            <a:custGeom>
              <a:avLst/>
              <a:gdLst>
                <a:gd name="connsiteX0" fmla="*/ 0 w 1270677"/>
                <a:gd name="connsiteY0" fmla="*/ 64340 h 386034"/>
                <a:gd name="connsiteX1" fmla="*/ 64340 w 1270677"/>
                <a:gd name="connsiteY1" fmla="*/ 0 h 386034"/>
                <a:gd name="connsiteX2" fmla="*/ 658178 w 1270677"/>
                <a:gd name="connsiteY2" fmla="*/ 0 h 386034"/>
                <a:gd name="connsiteX3" fmla="*/ 1206337 w 1270677"/>
                <a:gd name="connsiteY3" fmla="*/ 0 h 386034"/>
                <a:gd name="connsiteX4" fmla="*/ 1270677 w 1270677"/>
                <a:gd name="connsiteY4" fmla="*/ 64340 h 386034"/>
                <a:gd name="connsiteX5" fmla="*/ 1270677 w 1270677"/>
                <a:gd name="connsiteY5" fmla="*/ 321694 h 386034"/>
                <a:gd name="connsiteX6" fmla="*/ 1206337 w 1270677"/>
                <a:gd name="connsiteY6" fmla="*/ 386034 h 386034"/>
                <a:gd name="connsiteX7" fmla="*/ 635339 w 1270677"/>
                <a:gd name="connsiteY7" fmla="*/ 386034 h 386034"/>
                <a:gd name="connsiteX8" fmla="*/ 64340 w 1270677"/>
                <a:gd name="connsiteY8" fmla="*/ 386034 h 386034"/>
                <a:gd name="connsiteX9" fmla="*/ 0 w 1270677"/>
                <a:gd name="connsiteY9" fmla="*/ 321694 h 386034"/>
                <a:gd name="connsiteX10" fmla="*/ 0 w 1270677"/>
                <a:gd name="connsiteY10" fmla="*/ 64340 h 38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70677" h="386034" extrusionOk="0">
                  <a:moveTo>
                    <a:pt x="0" y="64340"/>
                  </a:moveTo>
                  <a:cubicBezTo>
                    <a:pt x="-4036" y="26316"/>
                    <a:pt x="23893" y="1844"/>
                    <a:pt x="64340" y="0"/>
                  </a:cubicBezTo>
                  <a:cubicBezTo>
                    <a:pt x="305104" y="-12353"/>
                    <a:pt x="404359" y="-13726"/>
                    <a:pt x="658178" y="0"/>
                  </a:cubicBezTo>
                  <a:cubicBezTo>
                    <a:pt x="911997" y="13726"/>
                    <a:pt x="1013716" y="-11684"/>
                    <a:pt x="1206337" y="0"/>
                  </a:cubicBezTo>
                  <a:cubicBezTo>
                    <a:pt x="1234352" y="-4114"/>
                    <a:pt x="1274606" y="30683"/>
                    <a:pt x="1270677" y="64340"/>
                  </a:cubicBezTo>
                  <a:cubicBezTo>
                    <a:pt x="1276931" y="162416"/>
                    <a:pt x="1279897" y="205598"/>
                    <a:pt x="1270677" y="321694"/>
                  </a:cubicBezTo>
                  <a:cubicBezTo>
                    <a:pt x="1272476" y="354301"/>
                    <a:pt x="1236545" y="390714"/>
                    <a:pt x="1206337" y="386034"/>
                  </a:cubicBezTo>
                  <a:cubicBezTo>
                    <a:pt x="1018204" y="391331"/>
                    <a:pt x="872347" y="408582"/>
                    <a:pt x="635339" y="386034"/>
                  </a:cubicBezTo>
                  <a:cubicBezTo>
                    <a:pt x="398331" y="363486"/>
                    <a:pt x="230275" y="367458"/>
                    <a:pt x="64340" y="386034"/>
                  </a:cubicBezTo>
                  <a:cubicBezTo>
                    <a:pt x="21150" y="385596"/>
                    <a:pt x="2276" y="350987"/>
                    <a:pt x="0" y="321694"/>
                  </a:cubicBezTo>
                  <a:cubicBezTo>
                    <a:pt x="3363" y="261429"/>
                    <a:pt x="10077" y="168251"/>
                    <a:pt x="0" y="64340"/>
                  </a:cubicBezTo>
                  <a:close/>
                </a:path>
              </a:pathLst>
            </a:custGeom>
            <a:noFill/>
            <a:ln w="25400">
              <a:solidFill>
                <a:srgbClr val="0070C0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Platform</a:t>
              </a: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4BBAE00B-5B22-3315-FC13-44FF9745CE42}"/>
                </a:ext>
              </a:extLst>
            </p:cNvPr>
            <p:cNvSpPr/>
            <p:nvPr/>
          </p:nvSpPr>
          <p:spPr>
            <a:xfrm>
              <a:off x="7532914" y="4820356"/>
              <a:ext cx="1196340" cy="386034"/>
            </a:xfrm>
            <a:custGeom>
              <a:avLst/>
              <a:gdLst>
                <a:gd name="connsiteX0" fmla="*/ 0 w 1196340"/>
                <a:gd name="connsiteY0" fmla="*/ 64340 h 386034"/>
                <a:gd name="connsiteX1" fmla="*/ 64340 w 1196340"/>
                <a:gd name="connsiteY1" fmla="*/ 0 h 386034"/>
                <a:gd name="connsiteX2" fmla="*/ 619523 w 1196340"/>
                <a:gd name="connsiteY2" fmla="*/ 0 h 386034"/>
                <a:gd name="connsiteX3" fmla="*/ 1132000 w 1196340"/>
                <a:gd name="connsiteY3" fmla="*/ 0 h 386034"/>
                <a:gd name="connsiteX4" fmla="*/ 1196340 w 1196340"/>
                <a:gd name="connsiteY4" fmla="*/ 64340 h 386034"/>
                <a:gd name="connsiteX5" fmla="*/ 1196340 w 1196340"/>
                <a:gd name="connsiteY5" fmla="*/ 321694 h 386034"/>
                <a:gd name="connsiteX6" fmla="*/ 1132000 w 1196340"/>
                <a:gd name="connsiteY6" fmla="*/ 386034 h 386034"/>
                <a:gd name="connsiteX7" fmla="*/ 598170 w 1196340"/>
                <a:gd name="connsiteY7" fmla="*/ 386034 h 386034"/>
                <a:gd name="connsiteX8" fmla="*/ 64340 w 1196340"/>
                <a:gd name="connsiteY8" fmla="*/ 386034 h 386034"/>
                <a:gd name="connsiteX9" fmla="*/ 0 w 1196340"/>
                <a:gd name="connsiteY9" fmla="*/ 321694 h 386034"/>
                <a:gd name="connsiteX10" fmla="*/ 0 w 1196340"/>
                <a:gd name="connsiteY10" fmla="*/ 64340 h 38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6340" h="386034" extrusionOk="0">
                  <a:moveTo>
                    <a:pt x="0" y="64340"/>
                  </a:moveTo>
                  <a:cubicBezTo>
                    <a:pt x="-4036" y="26316"/>
                    <a:pt x="23893" y="1844"/>
                    <a:pt x="64340" y="0"/>
                  </a:cubicBezTo>
                  <a:cubicBezTo>
                    <a:pt x="322141" y="-16284"/>
                    <a:pt x="506193" y="25321"/>
                    <a:pt x="619523" y="0"/>
                  </a:cubicBezTo>
                  <a:cubicBezTo>
                    <a:pt x="732853" y="-25321"/>
                    <a:pt x="1012710" y="-17698"/>
                    <a:pt x="1132000" y="0"/>
                  </a:cubicBezTo>
                  <a:cubicBezTo>
                    <a:pt x="1160015" y="-4114"/>
                    <a:pt x="1200269" y="30683"/>
                    <a:pt x="1196340" y="64340"/>
                  </a:cubicBezTo>
                  <a:cubicBezTo>
                    <a:pt x="1202594" y="162416"/>
                    <a:pt x="1205560" y="205598"/>
                    <a:pt x="1196340" y="321694"/>
                  </a:cubicBezTo>
                  <a:cubicBezTo>
                    <a:pt x="1198139" y="354301"/>
                    <a:pt x="1162208" y="390714"/>
                    <a:pt x="1132000" y="386034"/>
                  </a:cubicBezTo>
                  <a:cubicBezTo>
                    <a:pt x="940989" y="384450"/>
                    <a:pt x="717872" y="379207"/>
                    <a:pt x="598170" y="386034"/>
                  </a:cubicBezTo>
                  <a:cubicBezTo>
                    <a:pt x="478468" y="392862"/>
                    <a:pt x="178364" y="360389"/>
                    <a:pt x="64340" y="386034"/>
                  </a:cubicBezTo>
                  <a:cubicBezTo>
                    <a:pt x="21150" y="385596"/>
                    <a:pt x="2276" y="350987"/>
                    <a:pt x="0" y="321694"/>
                  </a:cubicBezTo>
                  <a:cubicBezTo>
                    <a:pt x="3363" y="261429"/>
                    <a:pt x="10077" y="168251"/>
                    <a:pt x="0" y="64340"/>
                  </a:cubicBezTo>
                  <a:close/>
                </a:path>
              </a:pathLst>
            </a:custGeom>
            <a:noFill/>
            <a:ln w="25400">
              <a:solidFill>
                <a:srgbClr val="0070C0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LZ# </a:t>
              </a:r>
              <a:r>
                <a:rPr lang="en-US" dirty="0" err="1">
                  <a:solidFill>
                    <a:schemeClr val="tx1"/>
                  </a:solidFill>
                </a:rPr>
                <a:t>prd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93AF4BB0-878B-34E8-5660-762F56526A7D}"/>
                </a:ext>
              </a:extLst>
            </p:cNvPr>
            <p:cNvSpPr/>
            <p:nvPr/>
          </p:nvSpPr>
          <p:spPr>
            <a:xfrm>
              <a:off x="8803591" y="4834271"/>
              <a:ext cx="1196340" cy="386034"/>
            </a:xfrm>
            <a:custGeom>
              <a:avLst/>
              <a:gdLst>
                <a:gd name="connsiteX0" fmla="*/ 0 w 1196340"/>
                <a:gd name="connsiteY0" fmla="*/ 64340 h 386034"/>
                <a:gd name="connsiteX1" fmla="*/ 64340 w 1196340"/>
                <a:gd name="connsiteY1" fmla="*/ 0 h 386034"/>
                <a:gd name="connsiteX2" fmla="*/ 619523 w 1196340"/>
                <a:gd name="connsiteY2" fmla="*/ 0 h 386034"/>
                <a:gd name="connsiteX3" fmla="*/ 1132000 w 1196340"/>
                <a:gd name="connsiteY3" fmla="*/ 0 h 386034"/>
                <a:gd name="connsiteX4" fmla="*/ 1196340 w 1196340"/>
                <a:gd name="connsiteY4" fmla="*/ 64340 h 386034"/>
                <a:gd name="connsiteX5" fmla="*/ 1196340 w 1196340"/>
                <a:gd name="connsiteY5" fmla="*/ 321694 h 386034"/>
                <a:gd name="connsiteX6" fmla="*/ 1132000 w 1196340"/>
                <a:gd name="connsiteY6" fmla="*/ 386034 h 386034"/>
                <a:gd name="connsiteX7" fmla="*/ 598170 w 1196340"/>
                <a:gd name="connsiteY7" fmla="*/ 386034 h 386034"/>
                <a:gd name="connsiteX8" fmla="*/ 64340 w 1196340"/>
                <a:gd name="connsiteY8" fmla="*/ 386034 h 386034"/>
                <a:gd name="connsiteX9" fmla="*/ 0 w 1196340"/>
                <a:gd name="connsiteY9" fmla="*/ 321694 h 386034"/>
                <a:gd name="connsiteX10" fmla="*/ 0 w 1196340"/>
                <a:gd name="connsiteY10" fmla="*/ 64340 h 38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6340" h="386034" extrusionOk="0">
                  <a:moveTo>
                    <a:pt x="0" y="64340"/>
                  </a:moveTo>
                  <a:cubicBezTo>
                    <a:pt x="-4036" y="26316"/>
                    <a:pt x="23893" y="1844"/>
                    <a:pt x="64340" y="0"/>
                  </a:cubicBezTo>
                  <a:cubicBezTo>
                    <a:pt x="322141" y="-16284"/>
                    <a:pt x="506193" y="25321"/>
                    <a:pt x="619523" y="0"/>
                  </a:cubicBezTo>
                  <a:cubicBezTo>
                    <a:pt x="732853" y="-25321"/>
                    <a:pt x="1012710" y="-17698"/>
                    <a:pt x="1132000" y="0"/>
                  </a:cubicBezTo>
                  <a:cubicBezTo>
                    <a:pt x="1160015" y="-4114"/>
                    <a:pt x="1200269" y="30683"/>
                    <a:pt x="1196340" y="64340"/>
                  </a:cubicBezTo>
                  <a:cubicBezTo>
                    <a:pt x="1202594" y="162416"/>
                    <a:pt x="1205560" y="205598"/>
                    <a:pt x="1196340" y="321694"/>
                  </a:cubicBezTo>
                  <a:cubicBezTo>
                    <a:pt x="1198139" y="354301"/>
                    <a:pt x="1162208" y="390714"/>
                    <a:pt x="1132000" y="386034"/>
                  </a:cubicBezTo>
                  <a:cubicBezTo>
                    <a:pt x="940989" y="384450"/>
                    <a:pt x="717872" y="379207"/>
                    <a:pt x="598170" y="386034"/>
                  </a:cubicBezTo>
                  <a:cubicBezTo>
                    <a:pt x="478468" y="392862"/>
                    <a:pt x="178364" y="360389"/>
                    <a:pt x="64340" y="386034"/>
                  </a:cubicBezTo>
                  <a:cubicBezTo>
                    <a:pt x="21150" y="385596"/>
                    <a:pt x="2276" y="350987"/>
                    <a:pt x="0" y="321694"/>
                  </a:cubicBezTo>
                  <a:cubicBezTo>
                    <a:pt x="3363" y="261429"/>
                    <a:pt x="10077" y="168251"/>
                    <a:pt x="0" y="64340"/>
                  </a:cubicBezTo>
                  <a:close/>
                </a:path>
              </a:pathLst>
            </a:custGeom>
            <a:noFill/>
            <a:ln w="25400">
              <a:solidFill>
                <a:srgbClr val="0070C0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LZ# stg</a:t>
              </a:r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4B09B066-EBED-F2DD-F147-FF8FFF711CCA}"/>
                </a:ext>
              </a:extLst>
            </p:cNvPr>
            <p:cNvSpPr/>
            <p:nvPr/>
          </p:nvSpPr>
          <p:spPr>
            <a:xfrm>
              <a:off x="9563012" y="5308014"/>
              <a:ext cx="1196340" cy="386034"/>
            </a:xfrm>
            <a:custGeom>
              <a:avLst/>
              <a:gdLst>
                <a:gd name="connsiteX0" fmla="*/ 0 w 1196340"/>
                <a:gd name="connsiteY0" fmla="*/ 64340 h 386034"/>
                <a:gd name="connsiteX1" fmla="*/ 64340 w 1196340"/>
                <a:gd name="connsiteY1" fmla="*/ 0 h 386034"/>
                <a:gd name="connsiteX2" fmla="*/ 619523 w 1196340"/>
                <a:gd name="connsiteY2" fmla="*/ 0 h 386034"/>
                <a:gd name="connsiteX3" fmla="*/ 1132000 w 1196340"/>
                <a:gd name="connsiteY3" fmla="*/ 0 h 386034"/>
                <a:gd name="connsiteX4" fmla="*/ 1196340 w 1196340"/>
                <a:gd name="connsiteY4" fmla="*/ 64340 h 386034"/>
                <a:gd name="connsiteX5" fmla="*/ 1196340 w 1196340"/>
                <a:gd name="connsiteY5" fmla="*/ 321694 h 386034"/>
                <a:gd name="connsiteX6" fmla="*/ 1132000 w 1196340"/>
                <a:gd name="connsiteY6" fmla="*/ 386034 h 386034"/>
                <a:gd name="connsiteX7" fmla="*/ 598170 w 1196340"/>
                <a:gd name="connsiteY7" fmla="*/ 386034 h 386034"/>
                <a:gd name="connsiteX8" fmla="*/ 64340 w 1196340"/>
                <a:gd name="connsiteY8" fmla="*/ 386034 h 386034"/>
                <a:gd name="connsiteX9" fmla="*/ 0 w 1196340"/>
                <a:gd name="connsiteY9" fmla="*/ 321694 h 386034"/>
                <a:gd name="connsiteX10" fmla="*/ 0 w 1196340"/>
                <a:gd name="connsiteY10" fmla="*/ 64340 h 38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6340" h="386034" extrusionOk="0">
                  <a:moveTo>
                    <a:pt x="0" y="64340"/>
                  </a:moveTo>
                  <a:cubicBezTo>
                    <a:pt x="-4036" y="26316"/>
                    <a:pt x="23893" y="1844"/>
                    <a:pt x="64340" y="0"/>
                  </a:cubicBezTo>
                  <a:cubicBezTo>
                    <a:pt x="322141" y="-16284"/>
                    <a:pt x="506193" y="25321"/>
                    <a:pt x="619523" y="0"/>
                  </a:cubicBezTo>
                  <a:cubicBezTo>
                    <a:pt x="732853" y="-25321"/>
                    <a:pt x="1012710" y="-17698"/>
                    <a:pt x="1132000" y="0"/>
                  </a:cubicBezTo>
                  <a:cubicBezTo>
                    <a:pt x="1160015" y="-4114"/>
                    <a:pt x="1200269" y="30683"/>
                    <a:pt x="1196340" y="64340"/>
                  </a:cubicBezTo>
                  <a:cubicBezTo>
                    <a:pt x="1202594" y="162416"/>
                    <a:pt x="1205560" y="205598"/>
                    <a:pt x="1196340" y="321694"/>
                  </a:cubicBezTo>
                  <a:cubicBezTo>
                    <a:pt x="1198139" y="354301"/>
                    <a:pt x="1162208" y="390714"/>
                    <a:pt x="1132000" y="386034"/>
                  </a:cubicBezTo>
                  <a:cubicBezTo>
                    <a:pt x="940989" y="384450"/>
                    <a:pt x="717872" y="379207"/>
                    <a:pt x="598170" y="386034"/>
                  </a:cubicBezTo>
                  <a:cubicBezTo>
                    <a:pt x="478468" y="392862"/>
                    <a:pt x="178364" y="360389"/>
                    <a:pt x="64340" y="386034"/>
                  </a:cubicBezTo>
                  <a:cubicBezTo>
                    <a:pt x="21150" y="385596"/>
                    <a:pt x="2276" y="350987"/>
                    <a:pt x="0" y="321694"/>
                  </a:cubicBezTo>
                  <a:cubicBezTo>
                    <a:pt x="3363" y="261429"/>
                    <a:pt x="10077" y="168251"/>
                    <a:pt x="0" y="64340"/>
                  </a:cubicBezTo>
                  <a:close/>
                </a:path>
              </a:pathLst>
            </a:custGeom>
            <a:noFill/>
            <a:ln w="25400">
              <a:solidFill>
                <a:srgbClr val="0070C0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LZ# dev</a:t>
              </a:r>
            </a:p>
          </p:txBody>
        </p: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D4171CAC-B2D0-90DE-FECC-1478466DCFD4}"/>
                </a:ext>
              </a:extLst>
            </p:cNvPr>
            <p:cNvSpPr/>
            <p:nvPr/>
          </p:nvSpPr>
          <p:spPr>
            <a:xfrm>
              <a:off x="7899730" y="5308947"/>
              <a:ext cx="1546326" cy="386034"/>
            </a:xfrm>
            <a:custGeom>
              <a:avLst/>
              <a:gdLst>
                <a:gd name="connsiteX0" fmla="*/ 0 w 1546326"/>
                <a:gd name="connsiteY0" fmla="*/ 64340 h 386034"/>
                <a:gd name="connsiteX1" fmla="*/ 64340 w 1546326"/>
                <a:gd name="connsiteY1" fmla="*/ 0 h 386034"/>
                <a:gd name="connsiteX2" fmla="*/ 565242 w 1546326"/>
                <a:gd name="connsiteY2" fmla="*/ 0 h 386034"/>
                <a:gd name="connsiteX3" fmla="*/ 1023614 w 1546326"/>
                <a:gd name="connsiteY3" fmla="*/ 0 h 386034"/>
                <a:gd name="connsiteX4" fmla="*/ 1481986 w 1546326"/>
                <a:gd name="connsiteY4" fmla="*/ 0 h 386034"/>
                <a:gd name="connsiteX5" fmla="*/ 1546326 w 1546326"/>
                <a:gd name="connsiteY5" fmla="*/ 64340 h 386034"/>
                <a:gd name="connsiteX6" fmla="*/ 1546326 w 1546326"/>
                <a:gd name="connsiteY6" fmla="*/ 321694 h 386034"/>
                <a:gd name="connsiteX7" fmla="*/ 1481986 w 1546326"/>
                <a:gd name="connsiteY7" fmla="*/ 386034 h 386034"/>
                <a:gd name="connsiteX8" fmla="*/ 1037790 w 1546326"/>
                <a:gd name="connsiteY8" fmla="*/ 386034 h 386034"/>
                <a:gd name="connsiteX9" fmla="*/ 565242 w 1546326"/>
                <a:gd name="connsiteY9" fmla="*/ 386034 h 386034"/>
                <a:gd name="connsiteX10" fmla="*/ 64340 w 1546326"/>
                <a:gd name="connsiteY10" fmla="*/ 386034 h 386034"/>
                <a:gd name="connsiteX11" fmla="*/ 0 w 1546326"/>
                <a:gd name="connsiteY11" fmla="*/ 321694 h 386034"/>
                <a:gd name="connsiteX12" fmla="*/ 0 w 1546326"/>
                <a:gd name="connsiteY12" fmla="*/ 64340 h 38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46326" h="386034" extrusionOk="0">
                  <a:moveTo>
                    <a:pt x="0" y="64340"/>
                  </a:moveTo>
                  <a:cubicBezTo>
                    <a:pt x="-4036" y="26316"/>
                    <a:pt x="23893" y="1844"/>
                    <a:pt x="64340" y="0"/>
                  </a:cubicBezTo>
                  <a:cubicBezTo>
                    <a:pt x="310500" y="24628"/>
                    <a:pt x="427639" y="-3787"/>
                    <a:pt x="565242" y="0"/>
                  </a:cubicBezTo>
                  <a:cubicBezTo>
                    <a:pt x="702845" y="3787"/>
                    <a:pt x="843780" y="18176"/>
                    <a:pt x="1023614" y="0"/>
                  </a:cubicBezTo>
                  <a:cubicBezTo>
                    <a:pt x="1203448" y="-18176"/>
                    <a:pt x="1354143" y="-15980"/>
                    <a:pt x="1481986" y="0"/>
                  </a:cubicBezTo>
                  <a:cubicBezTo>
                    <a:pt x="1515904" y="-5204"/>
                    <a:pt x="1546920" y="26606"/>
                    <a:pt x="1546326" y="64340"/>
                  </a:cubicBezTo>
                  <a:cubicBezTo>
                    <a:pt x="1554989" y="188801"/>
                    <a:pt x="1542785" y="261721"/>
                    <a:pt x="1546326" y="321694"/>
                  </a:cubicBezTo>
                  <a:cubicBezTo>
                    <a:pt x="1545677" y="351043"/>
                    <a:pt x="1515274" y="389155"/>
                    <a:pt x="1481986" y="386034"/>
                  </a:cubicBezTo>
                  <a:cubicBezTo>
                    <a:pt x="1274341" y="382391"/>
                    <a:pt x="1172771" y="404536"/>
                    <a:pt x="1037790" y="386034"/>
                  </a:cubicBezTo>
                  <a:cubicBezTo>
                    <a:pt x="902809" y="367532"/>
                    <a:pt x="680366" y="387399"/>
                    <a:pt x="565242" y="386034"/>
                  </a:cubicBezTo>
                  <a:cubicBezTo>
                    <a:pt x="450118" y="384669"/>
                    <a:pt x="302609" y="374093"/>
                    <a:pt x="64340" y="386034"/>
                  </a:cubicBezTo>
                  <a:cubicBezTo>
                    <a:pt x="31617" y="383256"/>
                    <a:pt x="7380" y="352469"/>
                    <a:pt x="0" y="321694"/>
                  </a:cubicBezTo>
                  <a:cubicBezTo>
                    <a:pt x="5004" y="229282"/>
                    <a:pt x="4162" y="187148"/>
                    <a:pt x="0" y="64340"/>
                  </a:cubicBezTo>
                  <a:close/>
                </a:path>
              </a:pathLst>
            </a:custGeom>
            <a:noFill/>
            <a:ln w="25400">
              <a:solidFill>
                <a:srgbClr val="0070C0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LZ# sandbox</a:t>
              </a:r>
            </a:p>
          </p:txBody>
        </p:sp>
      </p:grpSp>
      <p:pic>
        <p:nvPicPr>
          <p:cNvPr id="23" name="Picture 2">
            <a:extLst>
              <a:ext uri="{FF2B5EF4-FFF2-40B4-BE49-F238E27FC236}">
                <a16:creationId xmlns:a16="http://schemas.microsoft.com/office/drawing/2014/main" id="{22C834B1-79D5-4332-AF84-0BE953D7AF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5552" y="4515637"/>
            <a:ext cx="913743" cy="913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EC521153-7FDC-0D54-A1FF-E85516DABDA3}"/>
              </a:ext>
            </a:extLst>
          </p:cNvPr>
          <p:cNvSpPr/>
          <p:nvPr/>
        </p:nvSpPr>
        <p:spPr>
          <a:xfrm>
            <a:off x="564242" y="2504751"/>
            <a:ext cx="3907982" cy="1833074"/>
          </a:xfrm>
          <a:custGeom>
            <a:avLst/>
            <a:gdLst>
              <a:gd name="connsiteX0" fmla="*/ 0 w 3907982"/>
              <a:gd name="connsiteY0" fmla="*/ 305518 h 1833074"/>
              <a:gd name="connsiteX1" fmla="*/ 305518 w 3907982"/>
              <a:gd name="connsiteY1" fmla="*/ 0 h 1833074"/>
              <a:gd name="connsiteX2" fmla="*/ 920948 w 3907982"/>
              <a:gd name="connsiteY2" fmla="*/ 0 h 1833074"/>
              <a:gd name="connsiteX3" fmla="*/ 1437469 w 3907982"/>
              <a:gd name="connsiteY3" fmla="*/ 0 h 1833074"/>
              <a:gd name="connsiteX4" fmla="*/ 1921022 w 3907982"/>
              <a:gd name="connsiteY4" fmla="*/ 0 h 1833074"/>
              <a:gd name="connsiteX5" fmla="*/ 2503482 w 3907982"/>
              <a:gd name="connsiteY5" fmla="*/ 0 h 1833074"/>
              <a:gd name="connsiteX6" fmla="*/ 3020004 w 3907982"/>
              <a:gd name="connsiteY6" fmla="*/ 0 h 1833074"/>
              <a:gd name="connsiteX7" fmla="*/ 3602464 w 3907982"/>
              <a:gd name="connsiteY7" fmla="*/ 0 h 1833074"/>
              <a:gd name="connsiteX8" fmla="*/ 3907982 w 3907982"/>
              <a:gd name="connsiteY8" fmla="*/ 305518 h 1833074"/>
              <a:gd name="connsiteX9" fmla="*/ 3907982 w 3907982"/>
              <a:gd name="connsiteY9" fmla="*/ 688423 h 1833074"/>
              <a:gd name="connsiteX10" fmla="*/ 3907982 w 3907982"/>
              <a:gd name="connsiteY10" fmla="*/ 1095769 h 1833074"/>
              <a:gd name="connsiteX11" fmla="*/ 3907982 w 3907982"/>
              <a:gd name="connsiteY11" fmla="*/ 1527556 h 1833074"/>
              <a:gd name="connsiteX12" fmla="*/ 3602464 w 3907982"/>
              <a:gd name="connsiteY12" fmla="*/ 1833074 h 1833074"/>
              <a:gd name="connsiteX13" fmla="*/ 3052973 w 3907982"/>
              <a:gd name="connsiteY13" fmla="*/ 1833074 h 1833074"/>
              <a:gd name="connsiteX14" fmla="*/ 2569421 w 3907982"/>
              <a:gd name="connsiteY14" fmla="*/ 1833074 h 1833074"/>
              <a:gd name="connsiteX15" fmla="*/ 2019930 w 3907982"/>
              <a:gd name="connsiteY15" fmla="*/ 1833074 h 1833074"/>
              <a:gd name="connsiteX16" fmla="*/ 1404500 w 3907982"/>
              <a:gd name="connsiteY16" fmla="*/ 1833074 h 1833074"/>
              <a:gd name="connsiteX17" fmla="*/ 855009 w 3907982"/>
              <a:gd name="connsiteY17" fmla="*/ 1833074 h 1833074"/>
              <a:gd name="connsiteX18" fmla="*/ 305518 w 3907982"/>
              <a:gd name="connsiteY18" fmla="*/ 1833074 h 1833074"/>
              <a:gd name="connsiteX19" fmla="*/ 0 w 3907982"/>
              <a:gd name="connsiteY19" fmla="*/ 1527556 h 1833074"/>
              <a:gd name="connsiteX20" fmla="*/ 0 w 3907982"/>
              <a:gd name="connsiteY20" fmla="*/ 1107990 h 1833074"/>
              <a:gd name="connsiteX21" fmla="*/ 0 w 3907982"/>
              <a:gd name="connsiteY21" fmla="*/ 725084 h 1833074"/>
              <a:gd name="connsiteX22" fmla="*/ 0 w 3907982"/>
              <a:gd name="connsiteY22" fmla="*/ 305518 h 1833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07982" h="1833074" extrusionOk="0">
                <a:moveTo>
                  <a:pt x="0" y="305518"/>
                </a:moveTo>
                <a:cubicBezTo>
                  <a:pt x="-39719" y="112285"/>
                  <a:pt x="109445" y="10261"/>
                  <a:pt x="305518" y="0"/>
                </a:cubicBezTo>
                <a:cubicBezTo>
                  <a:pt x="456306" y="-12504"/>
                  <a:pt x="786712" y="45893"/>
                  <a:pt x="920948" y="0"/>
                </a:cubicBezTo>
                <a:cubicBezTo>
                  <a:pt x="1055184" y="-45893"/>
                  <a:pt x="1180144" y="48684"/>
                  <a:pt x="1437469" y="0"/>
                </a:cubicBezTo>
                <a:cubicBezTo>
                  <a:pt x="1694794" y="-48684"/>
                  <a:pt x="1779175" y="49989"/>
                  <a:pt x="1921022" y="0"/>
                </a:cubicBezTo>
                <a:cubicBezTo>
                  <a:pt x="2062869" y="-49989"/>
                  <a:pt x="2337571" y="34674"/>
                  <a:pt x="2503482" y="0"/>
                </a:cubicBezTo>
                <a:cubicBezTo>
                  <a:pt x="2669393" y="-34674"/>
                  <a:pt x="2857955" y="60254"/>
                  <a:pt x="3020004" y="0"/>
                </a:cubicBezTo>
                <a:cubicBezTo>
                  <a:pt x="3182053" y="-60254"/>
                  <a:pt x="3385688" y="51527"/>
                  <a:pt x="3602464" y="0"/>
                </a:cubicBezTo>
                <a:cubicBezTo>
                  <a:pt x="3767553" y="-34750"/>
                  <a:pt x="3894325" y="155764"/>
                  <a:pt x="3907982" y="305518"/>
                </a:cubicBezTo>
                <a:cubicBezTo>
                  <a:pt x="3919606" y="465513"/>
                  <a:pt x="3880063" y="564339"/>
                  <a:pt x="3907982" y="688423"/>
                </a:cubicBezTo>
                <a:cubicBezTo>
                  <a:pt x="3935901" y="812507"/>
                  <a:pt x="3881839" y="1012805"/>
                  <a:pt x="3907982" y="1095769"/>
                </a:cubicBezTo>
                <a:cubicBezTo>
                  <a:pt x="3934125" y="1178733"/>
                  <a:pt x="3899721" y="1376694"/>
                  <a:pt x="3907982" y="1527556"/>
                </a:cubicBezTo>
                <a:cubicBezTo>
                  <a:pt x="3933279" y="1671291"/>
                  <a:pt x="3801987" y="1813220"/>
                  <a:pt x="3602464" y="1833074"/>
                </a:cubicBezTo>
                <a:cubicBezTo>
                  <a:pt x="3438587" y="1838912"/>
                  <a:pt x="3221395" y="1783938"/>
                  <a:pt x="3052973" y="1833074"/>
                </a:cubicBezTo>
                <a:cubicBezTo>
                  <a:pt x="2884551" y="1882210"/>
                  <a:pt x="2685129" y="1810297"/>
                  <a:pt x="2569421" y="1833074"/>
                </a:cubicBezTo>
                <a:cubicBezTo>
                  <a:pt x="2453713" y="1855851"/>
                  <a:pt x="2260058" y="1790275"/>
                  <a:pt x="2019930" y="1833074"/>
                </a:cubicBezTo>
                <a:cubicBezTo>
                  <a:pt x="1779802" y="1875873"/>
                  <a:pt x="1700005" y="1762651"/>
                  <a:pt x="1404500" y="1833074"/>
                </a:cubicBezTo>
                <a:cubicBezTo>
                  <a:pt x="1108995" y="1903497"/>
                  <a:pt x="1014025" y="1802264"/>
                  <a:pt x="855009" y="1833074"/>
                </a:cubicBezTo>
                <a:cubicBezTo>
                  <a:pt x="695993" y="1863884"/>
                  <a:pt x="498871" y="1783663"/>
                  <a:pt x="305518" y="1833074"/>
                </a:cubicBezTo>
                <a:cubicBezTo>
                  <a:pt x="98857" y="1834636"/>
                  <a:pt x="13740" y="1671520"/>
                  <a:pt x="0" y="1527556"/>
                </a:cubicBezTo>
                <a:cubicBezTo>
                  <a:pt x="-21170" y="1347005"/>
                  <a:pt x="13494" y="1243168"/>
                  <a:pt x="0" y="1107990"/>
                </a:cubicBezTo>
                <a:cubicBezTo>
                  <a:pt x="-13494" y="972812"/>
                  <a:pt x="10149" y="870873"/>
                  <a:pt x="0" y="725084"/>
                </a:cubicBezTo>
                <a:cubicBezTo>
                  <a:pt x="-10149" y="579295"/>
                  <a:pt x="42308" y="507439"/>
                  <a:pt x="0" y="305518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62BCA87-04BA-C41F-6A5B-30224D078CE8}"/>
              </a:ext>
            </a:extLst>
          </p:cNvPr>
          <p:cNvSpPr txBox="1"/>
          <p:nvPr/>
        </p:nvSpPr>
        <p:spPr>
          <a:xfrm>
            <a:off x="658652" y="2740279"/>
            <a:ext cx="231585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dirty="0"/>
              <a:t>Strict User RBAC is very hard in large enterprises</a:t>
            </a:r>
          </a:p>
          <a:p>
            <a:endParaRPr lang="en-US" dirty="0"/>
          </a:p>
          <a:p>
            <a:pPr marL="285750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endParaRPr lang="en-US" dirty="0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387628A2-3D48-D77D-73EF-ABCFA4344C4E}"/>
              </a:ext>
            </a:extLst>
          </p:cNvPr>
          <p:cNvSpPr/>
          <p:nvPr/>
        </p:nvSpPr>
        <p:spPr>
          <a:xfrm>
            <a:off x="564242" y="4417383"/>
            <a:ext cx="3907982" cy="1833074"/>
          </a:xfrm>
          <a:custGeom>
            <a:avLst/>
            <a:gdLst>
              <a:gd name="connsiteX0" fmla="*/ 0 w 3907982"/>
              <a:gd name="connsiteY0" fmla="*/ 305518 h 1833074"/>
              <a:gd name="connsiteX1" fmla="*/ 305518 w 3907982"/>
              <a:gd name="connsiteY1" fmla="*/ 0 h 1833074"/>
              <a:gd name="connsiteX2" fmla="*/ 920948 w 3907982"/>
              <a:gd name="connsiteY2" fmla="*/ 0 h 1833074"/>
              <a:gd name="connsiteX3" fmla="*/ 1437469 w 3907982"/>
              <a:gd name="connsiteY3" fmla="*/ 0 h 1833074"/>
              <a:gd name="connsiteX4" fmla="*/ 1921022 w 3907982"/>
              <a:gd name="connsiteY4" fmla="*/ 0 h 1833074"/>
              <a:gd name="connsiteX5" fmla="*/ 2503482 w 3907982"/>
              <a:gd name="connsiteY5" fmla="*/ 0 h 1833074"/>
              <a:gd name="connsiteX6" fmla="*/ 3020004 w 3907982"/>
              <a:gd name="connsiteY6" fmla="*/ 0 h 1833074"/>
              <a:gd name="connsiteX7" fmla="*/ 3602464 w 3907982"/>
              <a:gd name="connsiteY7" fmla="*/ 0 h 1833074"/>
              <a:gd name="connsiteX8" fmla="*/ 3907982 w 3907982"/>
              <a:gd name="connsiteY8" fmla="*/ 305518 h 1833074"/>
              <a:gd name="connsiteX9" fmla="*/ 3907982 w 3907982"/>
              <a:gd name="connsiteY9" fmla="*/ 688423 h 1833074"/>
              <a:gd name="connsiteX10" fmla="*/ 3907982 w 3907982"/>
              <a:gd name="connsiteY10" fmla="*/ 1095769 h 1833074"/>
              <a:gd name="connsiteX11" fmla="*/ 3907982 w 3907982"/>
              <a:gd name="connsiteY11" fmla="*/ 1527556 h 1833074"/>
              <a:gd name="connsiteX12" fmla="*/ 3602464 w 3907982"/>
              <a:gd name="connsiteY12" fmla="*/ 1833074 h 1833074"/>
              <a:gd name="connsiteX13" fmla="*/ 3052973 w 3907982"/>
              <a:gd name="connsiteY13" fmla="*/ 1833074 h 1833074"/>
              <a:gd name="connsiteX14" fmla="*/ 2569421 w 3907982"/>
              <a:gd name="connsiteY14" fmla="*/ 1833074 h 1833074"/>
              <a:gd name="connsiteX15" fmla="*/ 2019930 w 3907982"/>
              <a:gd name="connsiteY15" fmla="*/ 1833074 h 1833074"/>
              <a:gd name="connsiteX16" fmla="*/ 1404500 w 3907982"/>
              <a:gd name="connsiteY16" fmla="*/ 1833074 h 1833074"/>
              <a:gd name="connsiteX17" fmla="*/ 855009 w 3907982"/>
              <a:gd name="connsiteY17" fmla="*/ 1833074 h 1833074"/>
              <a:gd name="connsiteX18" fmla="*/ 305518 w 3907982"/>
              <a:gd name="connsiteY18" fmla="*/ 1833074 h 1833074"/>
              <a:gd name="connsiteX19" fmla="*/ 0 w 3907982"/>
              <a:gd name="connsiteY19" fmla="*/ 1527556 h 1833074"/>
              <a:gd name="connsiteX20" fmla="*/ 0 w 3907982"/>
              <a:gd name="connsiteY20" fmla="*/ 1107990 h 1833074"/>
              <a:gd name="connsiteX21" fmla="*/ 0 w 3907982"/>
              <a:gd name="connsiteY21" fmla="*/ 725084 h 1833074"/>
              <a:gd name="connsiteX22" fmla="*/ 0 w 3907982"/>
              <a:gd name="connsiteY22" fmla="*/ 305518 h 1833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07982" h="1833074" extrusionOk="0">
                <a:moveTo>
                  <a:pt x="0" y="305518"/>
                </a:moveTo>
                <a:cubicBezTo>
                  <a:pt x="-39719" y="112285"/>
                  <a:pt x="109445" y="10261"/>
                  <a:pt x="305518" y="0"/>
                </a:cubicBezTo>
                <a:cubicBezTo>
                  <a:pt x="456306" y="-12504"/>
                  <a:pt x="786712" y="45893"/>
                  <a:pt x="920948" y="0"/>
                </a:cubicBezTo>
                <a:cubicBezTo>
                  <a:pt x="1055184" y="-45893"/>
                  <a:pt x="1180144" y="48684"/>
                  <a:pt x="1437469" y="0"/>
                </a:cubicBezTo>
                <a:cubicBezTo>
                  <a:pt x="1694794" y="-48684"/>
                  <a:pt x="1779175" y="49989"/>
                  <a:pt x="1921022" y="0"/>
                </a:cubicBezTo>
                <a:cubicBezTo>
                  <a:pt x="2062869" y="-49989"/>
                  <a:pt x="2337571" y="34674"/>
                  <a:pt x="2503482" y="0"/>
                </a:cubicBezTo>
                <a:cubicBezTo>
                  <a:pt x="2669393" y="-34674"/>
                  <a:pt x="2857955" y="60254"/>
                  <a:pt x="3020004" y="0"/>
                </a:cubicBezTo>
                <a:cubicBezTo>
                  <a:pt x="3182053" y="-60254"/>
                  <a:pt x="3385688" y="51527"/>
                  <a:pt x="3602464" y="0"/>
                </a:cubicBezTo>
                <a:cubicBezTo>
                  <a:pt x="3767553" y="-34750"/>
                  <a:pt x="3894325" y="155764"/>
                  <a:pt x="3907982" y="305518"/>
                </a:cubicBezTo>
                <a:cubicBezTo>
                  <a:pt x="3919606" y="465513"/>
                  <a:pt x="3880063" y="564339"/>
                  <a:pt x="3907982" y="688423"/>
                </a:cubicBezTo>
                <a:cubicBezTo>
                  <a:pt x="3935901" y="812507"/>
                  <a:pt x="3881839" y="1012805"/>
                  <a:pt x="3907982" y="1095769"/>
                </a:cubicBezTo>
                <a:cubicBezTo>
                  <a:pt x="3934125" y="1178733"/>
                  <a:pt x="3899721" y="1376694"/>
                  <a:pt x="3907982" y="1527556"/>
                </a:cubicBezTo>
                <a:cubicBezTo>
                  <a:pt x="3933279" y="1671291"/>
                  <a:pt x="3801987" y="1813220"/>
                  <a:pt x="3602464" y="1833074"/>
                </a:cubicBezTo>
                <a:cubicBezTo>
                  <a:pt x="3438587" y="1838912"/>
                  <a:pt x="3221395" y="1783938"/>
                  <a:pt x="3052973" y="1833074"/>
                </a:cubicBezTo>
                <a:cubicBezTo>
                  <a:pt x="2884551" y="1882210"/>
                  <a:pt x="2685129" y="1810297"/>
                  <a:pt x="2569421" y="1833074"/>
                </a:cubicBezTo>
                <a:cubicBezTo>
                  <a:pt x="2453713" y="1855851"/>
                  <a:pt x="2260058" y="1790275"/>
                  <a:pt x="2019930" y="1833074"/>
                </a:cubicBezTo>
                <a:cubicBezTo>
                  <a:pt x="1779802" y="1875873"/>
                  <a:pt x="1700005" y="1762651"/>
                  <a:pt x="1404500" y="1833074"/>
                </a:cubicBezTo>
                <a:cubicBezTo>
                  <a:pt x="1108995" y="1903497"/>
                  <a:pt x="1014025" y="1802264"/>
                  <a:pt x="855009" y="1833074"/>
                </a:cubicBezTo>
                <a:cubicBezTo>
                  <a:pt x="695993" y="1863884"/>
                  <a:pt x="498871" y="1783663"/>
                  <a:pt x="305518" y="1833074"/>
                </a:cubicBezTo>
                <a:cubicBezTo>
                  <a:pt x="98857" y="1834636"/>
                  <a:pt x="13740" y="1671520"/>
                  <a:pt x="0" y="1527556"/>
                </a:cubicBezTo>
                <a:cubicBezTo>
                  <a:pt x="-21170" y="1347005"/>
                  <a:pt x="13494" y="1243168"/>
                  <a:pt x="0" y="1107990"/>
                </a:cubicBezTo>
                <a:cubicBezTo>
                  <a:pt x="-13494" y="972812"/>
                  <a:pt x="10149" y="870873"/>
                  <a:pt x="0" y="725084"/>
                </a:cubicBezTo>
                <a:cubicBezTo>
                  <a:pt x="-10149" y="579295"/>
                  <a:pt x="42308" y="507439"/>
                  <a:pt x="0" y="305518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DF482F7-F404-DFE7-B637-FCB83793F8BD}"/>
              </a:ext>
            </a:extLst>
          </p:cNvPr>
          <p:cNvSpPr txBox="1"/>
          <p:nvPr/>
        </p:nvSpPr>
        <p:spPr>
          <a:xfrm>
            <a:off x="2977492" y="5388429"/>
            <a:ext cx="1417376" cy="369332"/>
          </a:xfrm>
          <a:custGeom>
            <a:avLst/>
            <a:gdLst>
              <a:gd name="connsiteX0" fmla="*/ 0 w 1417376"/>
              <a:gd name="connsiteY0" fmla="*/ 0 h 369332"/>
              <a:gd name="connsiteX1" fmla="*/ 458285 w 1417376"/>
              <a:gd name="connsiteY1" fmla="*/ 0 h 369332"/>
              <a:gd name="connsiteX2" fmla="*/ 888222 w 1417376"/>
              <a:gd name="connsiteY2" fmla="*/ 0 h 369332"/>
              <a:gd name="connsiteX3" fmla="*/ 1417376 w 1417376"/>
              <a:gd name="connsiteY3" fmla="*/ 0 h 369332"/>
              <a:gd name="connsiteX4" fmla="*/ 1417376 w 1417376"/>
              <a:gd name="connsiteY4" fmla="*/ 369332 h 369332"/>
              <a:gd name="connsiteX5" fmla="*/ 973265 w 1417376"/>
              <a:gd name="connsiteY5" fmla="*/ 369332 h 369332"/>
              <a:gd name="connsiteX6" fmla="*/ 472459 w 1417376"/>
              <a:gd name="connsiteY6" fmla="*/ 369332 h 369332"/>
              <a:gd name="connsiteX7" fmla="*/ 0 w 1417376"/>
              <a:gd name="connsiteY7" fmla="*/ 369332 h 369332"/>
              <a:gd name="connsiteX8" fmla="*/ 0 w 1417376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17376" h="369332" extrusionOk="0">
                <a:moveTo>
                  <a:pt x="0" y="0"/>
                </a:moveTo>
                <a:cubicBezTo>
                  <a:pt x="150315" y="-34839"/>
                  <a:pt x="359050" y="39766"/>
                  <a:pt x="458285" y="0"/>
                </a:cubicBezTo>
                <a:cubicBezTo>
                  <a:pt x="557521" y="-39766"/>
                  <a:pt x="717003" y="17681"/>
                  <a:pt x="888222" y="0"/>
                </a:cubicBezTo>
                <a:cubicBezTo>
                  <a:pt x="1059441" y="-17681"/>
                  <a:pt x="1227697" y="14188"/>
                  <a:pt x="1417376" y="0"/>
                </a:cubicBezTo>
                <a:cubicBezTo>
                  <a:pt x="1452964" y="113493"/>
                  <a:pt x="1390569" y="197069"/>
                  <a:pt x="1417376" y="369332"/>
                </a:cubicBezTo>
                <a:cubicBezTo>
                  <a:pt x="1226376" y="376749"/>
                  <a:pt x="1064169" y="317273"/>
                  <a:pt x="973265" y="369332"/>
                </a:cubicBezTo>
                <a:cubicBezTo>
                  <a:pt x="882361" y="421391"/>
                  <a:pt x="672283" y="360538"/>
                  <a:pt x="472459" y="369332"/>
                </a:cubicBezTo>
                <a:cubicBezTo>
                  <a:pt x="272635" y="378126"/>
                  <a:pt x="235277" y="321369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Pipelines/API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A3C9098-CF9B-E8E3-71FE-866D524E7537}"/>
              </a:ext>
            </a:extLst>
          </p:cNvPr>
          <p:cNvSpPr txBox="1"/>
          <p:nvPr/>
        </p:nvSpPr>
        <p:spPr>
          <a:xfrm>
            <a:off x="653484" y="4570283"/>
            <a:ext cx="231585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dirty="0"/>
              <a:t>Use Template Specs instead of Bicep Registry</a:t>
            </a:r>
          </a:p>
          <a:p>
            <a:pPr marL="285750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endParaRPr lang="en-US" dirty="0"/>
          </a:p>
        </p:txBody>
      </p:sp>
      <p:sp>
        <p:nvSpPr>
          <p:cNvPr id="44" name="Arrow: Right 43">
            <a:extLst>
              <a:ext uri="{FF2B5EF4-FFF2-40B4-BE49-F238E27FC236}">
                <a16:creationId xmlns:a16="http://schemas.microsoft.com/office/drawing/2014/main" id="{F9B71AEC-FD4A-C5B5-0F84-BD1F558E2D7B}"/>
              </a:ext>
            </a:extLst>
          </p:cNvPr>
          <p:cNvSpPr/>
          <p:nvPr/>
        </p:nvSpPr>
        <p:spPr>
          <a:xfrm rot="2001823" flipV="1">
            <a:off x="4516009" y="4265745"/>
            <a:ext cx="1092674" cy="299469"/>
          </a:xfrm>
          <a:custGeom>
            <a:avLst/>
            <a:gdLst>
              <a:gd name="connsiteX0" fmla="*/ 0 w 1092674"/>
              <a:gd name="connsiteY0" fmla="*/ 74867 h 299469"/>
              <a:gd name="connsiteX1" fmla="*/ 480899 w 1092674"/>
              <a:gd name="connsiteY1" fmla="*/ 74867 h 299469"/>
              <a:gd name="connsiteX2" fmla="*/ 942940 w 1092674"/>
              <a:gd name="connsiteY2" fmla="*/ 74867 h 299469"/>
              <a:gd name="connsiteX3" fmla="*/ 942940 w 1092674"/>
              <a:gd name="connsiteY3" fmla="*/ 0 h 299469"/>
              <a:gd name="connsiteX4" fmla="*/ 1092674 w 1092674"/>
              <a:gd name="connsiteY4" fmla="*/ 149735 h 299469"/>
              <a:gd name="connsiteX5" fmla="*/ 942940 w 1092674"/>
              <a:gd name="connsiteY5" fmla="*/ 299469 h 299469"/>
              <a:gd name="connsiteX6" fmla="*/ 942940 w 1092674"/>
              <a:gd name="connsiteY6" fmla="*/ 224602 h 299469"/>
              <a:gd name="connsiteX7" fmla="*/ 471470 w 1092674"/>
              <a:gd name="connsiteY7" fmla="*/ 224602 h 299469"/>
              <a:gd name="connsiteX8" fmla="*/ 0 w 1092674"/>
              <a:gd name="connsiteY8" fmla="*/ 224602 h 299469"/>
              <a:gd name="connsiteX9" fmla="*/ 0 w 1092674"/>
              <a:gd name="connsiteY9" fmla="*/ 74867 h 299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92674" h="299469" fill="none" extrusionOk="0">
                <a:moveTo>
                  <a:pt x="0" y="74867"/>
                </a:moveTo>
                <a:cubicBezTo>
                  <a:pt x="216265" y="59847"/>
                  <a:pt x="322152" y="70174"/>
                  <a:pt x="480899" y="74867"/>
                </a:cubicBezTo>
                <a:cubicBezTo>
                  <a:pt x="639646" y="79560"/>
                  <a:pt x="815220" y="93676"/>
                  <a:pt x="942940" y="74867"/>
                </a:cubicBezTo>
                <a:cubicBezTo>
                  <a:pt x="939933" y="43903"/>
                  <a:pt x="940998" y="18180"/>
                  <a:pt x="942940" y="0"/>
                </a:cubicBezTo>
                <a:cubicBezTo>
                  <a:pt x="991485" y="42430"/>
                  <a:pt x="1018307" y="89626"/>
                  <a:pt x="1092674" y="149735"/>
                </a:cubicBezTo>
                <a:cubicBezTo>
                  <a:pt x="1034273" y="221326"/>
                  <a:pt x="1022141" y="233324"/>
                  <a:pt x="942940" y="299469"/>
                </a:cubicBezTo>
                <a:cubicBezTo>
                  <a:pt x="939895" y="264632"/>
                  <a:pt x="941389" y="257076"/>
                  <a:pt x="942940" y="224602"/>
                </a:cubicBezTo>
                <a:cubicBezTo>
                  <a:pt x="770704" y="233480"/>
                  <a:pt x="630420" y="206377"/>
                  <a:pt x="471470" y="224602"/>
                </a:cubicBezTo>
                <a:cubicBezTo>
                  <a:pt x="312520" y="242828"/>
                  <a:pt x="100606" y="216316"/>
                  <a:pt x="0" y="224602"/>
                </a:cubicBezTo>
                <a:cubicBezTo>
                  <a:pt x="2679" y="160280"/>
                  <a:pt x="-5251" y="117299"/>
                  <a:pt x="0" y="74867"/>
                </a:cubicBezTo>
                <a:close/>
              </a:path>
              <a:path w="1092674" h="299469" stroke="0" extrusionOk="0">
                <a:moveTo>
                  <a:pt x="0" y="74867"/>
                </a:moveTo>
                <a:cubicBezTo>
                  <a:pt x="182740" y="66323"/>
                  <a:pt x="266755" y="70824"/>
                  <a:pt x="462041" y="74867"/>
                </a:cubicBezTo>
                <a:cubicBezTo>
                  <a:pt x="657327" y="78910"/>
                  <a:pt x="776283" y="91304"/>
                  <a:pt x="942940" y="74867"/>
                </a:cubicBezTo>
                <a:cubicBezTo>
                  <a:pt x="943202" y="45997"/>
                  <a:pt x="942659" y="23814"/>
                  <a:pt x="942940" y="0"/>
                </a:cubicBezTo>
                <a:cubicBezTo>
                  <a:pt x="1001946" y="61146"/>
                  <a:pt x="1027275" y="94736"/>
                  <a:pt x="1092674" y="149735"/>
                </a:cubicBezTo>
                <a:cubicBezTo>
                  <a:pt x="1066059" y="190945"/>
                  <a:pt x="998770" y="250841"/>
                  <a:pt x="942940" y="299469"/>
                </a:cubicBezTo>
                <a:cubicBezTo>
                  <a:pt x="941148" y="275136"/>
                  <a:pt x="944278" y="253873"/>
                  <a:pt x="942940" y="224602"/>
                </a:cubicBezTo>
                <a:cubicBezTo>
                  <a:pt x="818727" y="229173"/>
                  <a:pt x="597068" y="240046"/>
                  <a:pt x="490329" y="224602"/>
                </a:cubicBezTo>
                <a:cubicBezTo>
                  <a:pt x="383590" y="209158"/>
                  <a:pt x="166327" y="217763"/>
                  <a:pt x="0" y="224602"/>
                </a:cubicBezTo>
                <a:cubicBezTo>
                  <a:pt x="-5217" y="188683"/>
                  <a:pt x="-3688" y="113779"/>
                  <a:pt x="0" y="74867"/>
                </a:cubicBezTo>
                <a:close/>
              </a:path>
            </a:pathLst>
          </a:custGeom>
          <a:solidFill>
            <a:srgbClr val="FFC000"/>
          </a:solidFill>
          <a:ln w="25400">
            <a:solidFill>
              <a:srgbClr val="FFD10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5" name="Arrow: Right 44">
            <a:extLst>
              <a:ext uri="{FF2B5EF4-FFF2-40B4-BE49-F238E27FC236}">
                <a16:creationId xmlns:a16="http://schemas.microsoft.com/office/drawing/2014/main" id="{A5DA7973-71C2-F666-C2C9-AF04021A2428}"/>
              </a:ext>
            </a:extLst>
          </p:cNvPr>
          <p:cNvSpPr/>
          <p:nvPr/>
        </p:nvSpPr>
        <p:spPr>
          <a:xfrm rot="20591741" flipV="1">
            <a:off x="4557014" y="5211065"/>
            <a:ext cx="954100" cy="322160"/>
          </a:xfrm>
          <a:custGeom>
            <a:avLst/>
            <a:gdLst>
              <a:gd name="connsiteX0" fmla="*/ 0 w 954100"/>
              <a:gd name="connsiteY0" fmla="*/ 80540 h 322160"/>
              <a:gd name="connsiteX1" fmla="*/ 404440 w 954100"/>
              <a:gd name="connsiteY1" fmla="*/ 80540 h 322160"/>
              <a:gd name="connsiteX2" fmla="*/ 793020 w 954100"/>
              <a:gd name="connsiteY2" fmla="*/ 80540 h 322160"/>
              <a:gd name="connsiteX3" fmla="*/ 793020 w 954100"/>
              <a:gd name="connsiteY3" fmla="*/ 0 h 322160"/>
              <a:gd name="connsiteX4" fmla="*/ 954100 w 954100"/>
              <a:gd name="connsiteY4" fmla="*/ 161080 h 322160"/>
              <a:gd name="connsiteX5" fmla="*/ 793020 w 954100"/>
              <a:gd name="connsiteY5" fmla="*/ 322160 h 322160"/>
              <a:gd name="connsiteX6" fmla="*/ 793020 w 954100"/>
              <a:gd name="connsiteY6" fmla="*/ 241620 h 322160"/>
              <a:gd name="connsiteX7" fmla="*/ 396510 w 954100"/>
              <a:gd name="connsiteY7" fmla="*/ 241620 h 322160"/>
              <a:gd name="connsiteX8" fmla="*/ 0 w 954100"/>
              <a:gd name="connsiteY8" fmla="*/ 241620 h 322160"/>
              <a:gd name="connsiteX9" fmla="*/ 0 w 954100"/>
              <a:gd name="connsiteY9" fmla="*/ 80540 h 322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54100" h="322160" fill="none" extrusionOk="0">
                <a:moveTo>
                  <a:pt x="0" y="80540"/>
                </a:moveTo>
                <a:cubicBezTo>
                  <a:pt x="111190" y="61619"/>
                  <a:pt x="223998" y="65817"/>
                  <a:pt x="404440" y="80540"/>
                </a:cubicBezTo>
                <a:cubicBezTo>
                  <a:pt x="584882" y="95263"/>
                  <a:pt x="655376" y="82000"/>
                  <a:pt x="793020" y="80540"/>
                </a:cubicBezTo>
                <a:cubicBezTo>
                  <a:pt x="791208" y="41859"/>
                  <a:pt x="792478" y="25389"/>
                  <a:pt x="793020" y="0"/>
                </a:cubicBezTo>
                <a:cubicBezTo>
                  <a:pt x="848302" y="63832"/>
                  <a:pt x="882892" y="91780"/>
                  <a:pt x="954100" y="161080"/>
                </a:cubicBezTo>
                <a:cubicBezTo>
                  <a:pt x="882102" y="244510"/>
                  <a:pt x="850829" y="269029"/>
                  <a:pt x="793020" y="322160"/>
                </a:cubicBezTo>
                <a:cubicBezTo>
                  <a:pt x="789506" y="305656"/>
                  <a:pt x="792171" y="279114"/>
                  <a:pt x="793020" y="241620"/>
                </a:cubicBezTo>
                <a:cubicBezTo>
                  <a:pt x="663766" y="234384"/>
                  <a:pt x="560864" y="249679"/>
                  <a:pt x="396510" y="241620"/>
                </a:cubicBezTo>
                <a:cubicBezTo>
                  <a:pt x="232156" y="233562"/>
                  <a:pt x="190076" y="241141"/>
                  <a:pt x="0" y="241620"/>
                </a:cubicBezTo>
                <a:cubicBezTo>
                  <a:pt x="-7055" y="201858"/>
                  <a:pt x="170" y="155846"/>
                  <a:pt x="0" y="80540"/>
                </a:cubicBezTo>
                <a:close/>
              </a:path>
              <a:path w="954100" h="322160" stroke="0" extrusionOk="0">
                <a:moveTo>
                  <a:pt x="0" y="80540"/>
                </a:moveTo>
                <a:cubicBezTo>
                  <a:pt x="124136" y="72534"/>
                  <a:pt x="246152" y="71220"/>
                  <a:pt x="388580" y="80540"/>
                </a:cubicBezTo>
                <a:cubicBezTo>
                  <a:pt x="531008" y="89860"/>
                  <a:pt x="689803" y="62191"/>
                  <a:pt x="793020" y="80540"/>
                </a:cubicBezTo>
                <a:cubicBezTo>
                  <a:pt x="795118" y="50919"/>
                  <a:pt x="790116" y="22682"/>
                  <a:pt x="793020" y="0"/>
                </a:cubicBezTo>
                <a:cubicBezTo>
                  <a:pt x="829128" y="29365"/>
                  <a:pt x="879448" y="79833"/>
                  <a:pt x="954100" y="161080"/>
                </a:cubicBezTo>
                <a:cubicBezTo>
                  <a:pt x="905501" y="194212"/>
                  <a:pt x="852081" y="262764"/>
                  <a:pt x="793020" y="322160"/>
                </a:cubicBezTo>
                <a:cubicBezTo>
                  <a:pt x="793312" y="298709"/>
                  <a:pt x="794178" y="265249"/>
                  <a:pt x="793020" y="241620"/>
                </a:cubicBezTo>
                <a:cubicBezTo>
                  <a:pt x="675043" y="248733"/>
                  <a:pt x="521610" y="229361"/>
                  <a:pt x="412370" y="241620"/>
                </a:cubicBezTo>
                <a:cubicBezTo>
                  <a:pt x="303130" y="253880"/>
                  <a:pt x="136692" y="229047"/>
                  <a:pt x="0" y="241620"/>
                </a:cubicBezTo>
                <a:cubicBezTo>
                  <a:pt x="6760" y="191250"/>
                  <a:pt x="-5116" y="118181"/>
                  <a:pt x="0" y="80540"/>
                </a:cubicBezTo>
                <a:close/>
              </a:path>
            </a:pathLst>
          </a:custGeom>
          <a:solidFill>
            <a:srgbClr val="2C7CC4"/>
          </a:solidFill>
          <a:ln w="25400">
            <a:solidFill>
              <a:srgbClr val="2C7CC4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6" name="Arrow: Right 45">
            <a:extLst>
              <a:ext uri="{FF2B5EF4-FFF2-40B4-BE49-F238E27FC236}">
                <a16:creationId xmlns:a16="http://schemas.microsoft.com/office/drawing/2014/main" id="{FEC3E27B-2463-93F4-1768-261453C1B051}"/>
              </a:ext>
            </a:extLst>
          </p:cNvPr>
          <p:cNvSpPr/>
          <p:nvPr/>
        </p:nvSpPr>
        <p:spPr>
          <a:xfrm rot="908097" flipV="1">
            <a:off x="7852585" y="4260714"/>
            <a:ext cx="954100" cy="322160"/>
          </a:xfrm>
          <a:custGeom>
            <a:avLst/>
            <a:gdLst>
              <a:gd name="connsiteX0" fmla="*/ 0 w 954100"/>
              <a:gd name="connsiteY0" fmla="*/ 80540 h 322160"/>
              <a:gd name="connsiteX1" fmla="*/ 404440 w 954100"/>
              <a:gd name="connsiteY1" fmla="*/ 80540 h 322160"/>
              <a:gd name="connsiteX2" fmla="*/ 793020 w 954100"/>
              <a:gd name="connsiteY2" fmla="*/ 80540 h 322160"/>
              <a:gd name="connsiteX3" fmla="*/ 793020 w 954100"/>
              <a:gd name="connsiteY3" fmla="*/ 0 h 322160"/>
              <a:gd name="connsiteX4" fmla="*/ 954100 w 954100"/>
              <a:gd name="connsiteY4" fmla="*/ 161080 h 322160"/>
              <a:gd name="connsiteX5" fmla="*/ 793020 w 954100"/>
              <a:gd name="connsiteY5" fmla="*/ 322160 h 322160"/>
              <a:gd name="connsiteX6" fmla="*/ 793020 w 954100"/>
              <a:gd name="connsiteY6" fmla="*/ 241620 h 322160"/>
              <a:gd name="connsiteX7" fmla="*/ 396510 w 954100"/>
              <a:gd name="connsiteY7" fmla="*/ 241620 h 322160"/>
              <a:gd name="connsiteX8" fmla="*/ 0 w 954100"/>
              <a:gd name="connsiteY8" fmla="*/ 241620 h 322160"/>
              <a:gd name="connsiteX9" fmla="*/ 0 w 954100"/>
              <a:gd name="connsiteY9" fmla="*/ 80540 h 322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54100" h="322160" fill="none" extrusionOk="0">
                <a:moveTo>
                  <a:pt x="0" y="80540"/>
                </a:moveTo>
                <a:cubicBezTo>
                  <a:pt x="111190" y="61619"/>
                  <a:pt x="223998" y="65817"/>
                  <a:pt x="404440" y="80540"/>
                </a:cubicBezTo>
                <a:cubicBezTo>
                  <a:pt x="584882" y="95263"/>
                  <a:pt x="655376" y="82000"/>
                  <a:pt x="793020" y="80540"/>
                </a:cubicBezTo>
                <a:cubicBezTo>
                  <a:pt x="791208" y="41859"/>
                  <a:pt x="792478" y="25389"/>
                  <a:pt x="793020" y="0"/>
                </a:cubicBezTo>
                <a:cubicBezTo>
                  <a:pt x="848302" y="63832"/>
                  <a:pt x="882892" y="91780"/>
                  <a:pt x="954100" y="161080"/>
                </a:cubicBezTo>
                <a:cubicBezTo>
                  <a:pt x="882102" y="244510"/>
                  <a:pt x="850829" y="269029"/>
                  <a:pt x="793020" y="322160"/>
                </a:cubicBezTo>
                <a:cubicBezTo>
                  <a:pt x="789506" y="305656"/>
                  <a:pt x="792171" y="279114"/>
                  <a:pt x="793020" y="241620"/>
                </a:cubicBezTo>
                <a:cubicBezTo>
                  <a:pt x="663766" y="234384"/>
                  <a:pt x="560864" y="249679"/>
                  <a:pt x="396510" y="241620"/>
                </a:cubicBezTo>
                <a:cubicBezTo>
                  <a:pt x="232156" y="233562"/>
                  <a:pt x="190076" y="241141"/>
                  <a:pt x="0" y="241620"/>
                </a:cubicBezTo>
                <a:cubicBezTo>
                  <a:pt x="-7055" y="201858"/>
                  <a:pt x="170" y="155846"/>
                  <a:pt x="0" y="80540"/>
                </a:cubicBezTo>
                <a:close/>
              </a:path>
              <a:path w="954100" h="322160" stroke="0" extrusionOk="0">
                <a:moveTo>
                  <a:pt x="0" y="80540"/>
                </a:moveTo>
                <a:cubicBezTo>
                  <a:pt x="124136" y="72534"/>
                  <a:pt x="246152" y="71220"/>
                  <a:pt x="388580" y="80540"/>
                </a:cubicBezTo>
                <a:cubicBezTo>
                  <a:pt x="531008" y="89860"/>
                  <a:pt x="689803" y="62191"/>
                  <a:pt x="793020" y="80540"/>
                </a:cubicBezTo>
                <a:cubicBezTo>
                  <a:pt x="795118" y="50919"/>
                  <a:pt x="790116" y="22682"/>
                  <a:pt x="793020" y="0"/>
                </a:cubicBezTo>
                <a:cubicBezTo>
                  <a:pt x="829128" y="29365"/>
                  <a:pt x="879448" y="79833"/>
                  <a:pt x="954100" y="161080"/>
                </a:cubicBezTo>
                <a:cubicBezTo>
                  <a:pt x="905501" y="194212"/>
                  <a:pt x="852081" y="262764"/>
                  <a:pt x="793020" y="322160"/>
                </a:cubicBezTo>
                <a:cubicBezTo>
                  <a:pt x="793312" y="298709"/>
                  <a:pt x="794178" y="265249"/>
                  <a:pt x="793020" y="241620"/>
                </a:cubicBezTo>
                <a:cubicBezTo>
                  <a:pt x="675043" y="248733"/>
                  <a:pt x="521610" y="229361"/>
                  <a:pt x="412370" y="241620"/>
                </a:cubicBezTo>
                <a:cubicBezTo>
                  <a:pt x="303130" y="253880"/>
                  <a:pt x="136692" y="229047"/>
                  <a:pt x="0" y="241620"/>
                </a:cubicBezTo>
                <a:cubicBezTo>
                  <a:pt x="6760" y="191250"/>
                  <a:pt x="-5116" y="118181"/>
                  <a:pt x="0" y="80540"/>
                </a:cubicBezTo>
                <a:close/>
              </a:path>
            </a:pathLst>
          </a:custGeom>
          <a:solidFill>
            <a:srgbClr val="0070C0"/>
          </a:solidFill>
          <a:ln w="25400">
            <a:solidFill>
              <a:srgbClr val="0070C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222180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Template Specs </a:t>
            </a:r>
            <a:r>
              <a:rPr lang="en-US" b="1" dirty="0">
                <a:latin typeface="Segoe UI" panose="020B0502040204020203" pitchFamily="34" charset="0"/>
                <a:cs typeface="Segoe UI" panose="020B0502040204020203" pitchFamily="34" charset="0"/>
              </a:rPr>
              <a:t>for non prod scenari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792687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What does that means? – Something developed in dev/sandbox has a high change to work in stg and </a:t>
            </a:r>
            <a:r>
              <a:rPr lang="en-US" sz="2000" dirty="0" err="1"/>
              <a:t>prd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5</a:t>
            </a:fld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3103689" y="2552293"/>
            <a:ext cx="1291179" cy="1287835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E970DDF6-1DAA-110B-AD62-F1DB1D9FB745}"/>
              </a:ext>
            </a:extLst>
          </p:cNvPr>
          <p:cNvSpPr txBox="1"/>
          <p:nvPr/>
        </p:nvSpPr>
        <p:spPr>
          <a:xfrm>
            <a:off x="3094214" y="3705633"/>
            <a:ext cx="1309782" cy="369332"/>
          </a:xfrm>
          <a:custGeom>
            <a:avLst/>
            <a:gdLst>
              <a:gd name="connsiteX0" fmla="*/ 0 w 1309782"/>
              <a:gd name="connsiteY0" fmla="*/ 0 h 369332"/>
              <a:gd name="connsiteX1" fmla="*/ 423496 w 1309782"/>
              <a:gd name="connsiteY1" fmla="*/ 0 h 369332"/>
              <a:gd name="connsiteX2" fmla="*/ 820797 w 1309782"/>
              <a:gd name="connsiteY2" fmla="*/ 0 h 369332"/>
              <a:gd name="connsiteX3" fmla="*/ 1309782 w 1309782"/>
              <a:gd name="connsiteY3" fmla="*/ 0 h 369332"/>
              <a:gd name="connsiteX4" fmla="*/ 1309782 w 1309782"/>
              <a:gd name="connsiteY4" fmla="*/ 369332 h 369332"/>
              <a:gd name="connsiteX5" fmla="*/ 899384 w 1309782"/>
              <a:gd name="connsiteY5" fmla="*/ 369332 h 369332"/>
              <a:gd name="connsiteX6" fmla="*/ 436594 w 1309782"/>
              <a:gd name="connsiteY6" fmla="*/ 369332 h 369332"/>
              <a:gd name="connsiteX7" fmla="*/ 0 w 1309782"/>
              <a:gd name="connsiteY7" fmla="*/ 369332 h 369332"/>
              <a:gd name="connsiteX8" fmla="*/ 0 w 1309782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09782" h="369332" extrusionOk="0">
                <a:moveTo>
                  <a:pt x="0" y="0"/>
                </a:moveTo>
                <a:cubicBezTo>
                  <a:pt x="204308" y="-29665"/>
                  <a:pt x="324457" y="17556"/>
                  <a:pt x="423496" y="0"/>
                </a:cubicBezTo>
                <a:cubicBezTo>
                  <a:pt x="522535" y="-17556"/>
                  <a:pt x="722519" y="14831"/>
                  <a:pt x="820797" y="0"/>
                </a:cubicBezTo>
                <a:cubicBezTo>
                  <a:pt x="919075" y="-14831"/>
                  <a:pt x="1149409" y="15804"/>
                  <a:pt x="1309782" y="0"/>
                </a:cubicBezTo>
                <a:cubicBezTo>
                  <a:pt x="1345370" y="113493"/>
                  <a:pt x="1282975" y="197069"/>
                  <a:pt x="1309782" y="369332"/>
                </a:cubicBezTo>
                <a:cubicBezTo>
                  <a:pt x="1117518" y="406901"/>
                  <a:pt x="983143" y="337387"/>
                  <a:pt x="899384" y="369332"/>
                </a:cubicBezTo>
                <a:cubicBezTo>
                  <a:pt x="815625" y="401277"/>
                  <a:pt x="570308" y="331595"/>
                  <a:pt x="436594" y="369332"/>
                </a:cubicBezTo>
                <a:cubicBezTo>
                  <a:pt x="302880" y="407069"/>
                  <a:pt x="138159" y="35149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Portal User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4C819CB-44CB-D33A-9824-A4E4EB4E3B08}"/>
              </a:ext>
            </a:extLst>
          </p:cNvPr>
          <p:cNvGrpSpPr/>
          <p:nvPr/>
        </p:nvGrpSpPr>
        <p:grpSpPr>
          <a:xfrm>
            <a:off x="5300020" y="2937559"/>
            <a:ext cx="2397874" cy="2733316"/>
            <a:chOff x="4187983" y="2655114"/>
            <a:chExt cx="2397874" cy="2733316"/>
          </a:xfrm>
        </p:grpSpPr>
        <p:sp>
          <p:nvSpPr>
            <p:cNvPr id="24" name="Content Placeholder 2">
              <a:extLst>
                <a:ext uri="{FF2B5EF4-FFF2-40B4-BE49-F238E27FC236}">
                  <a16:creationId xmlns:a16="http://schemas.microsoft.com/office/drawing/2014/main" id="{C2FC9430-89FA-B6F5-FF73-09BF4CD95552}"/>
                </a:ext>
              </a:extLst>
            </p:cNvPr>
            <p:cNvSpPr txBox="1">
              <a:spLocks/>
            </p:cNvSpPr>
            <p:nvPr/>
          </p:nvSpPr>
          <p:spPr>
            <a:xfrm>
              <a:off x="4398363" y="4349404"/>
              <a:ext cx="2053029" cy="856986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anose="020B0604020202020204" pitchFamily="34" charset="0"/>
                <a:buNone/>
              </a:pPr>
              <a:r>
                <a:rPr lang="en-US" sz="20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template.ui.json</a:t>
              </a:r>
              <a:endParaRPr lang="en-US" sz="20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indent="0">
                <a:buFont typeface="Arial" panose="020B0604020202020204" pitchFamily="34" charset="0"/>
                <a:buNone/>
              </a:pPr>
              <a:r>
                <a:rPr lang="en-US" sz="20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template.bicep</a:t>
              </a:r>
              <a:endParaRPr lang="en-US" sz="20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indent="0">
                <a:buFont typeface="Arial" panose="020B0604020202020204" pitchFamily="34" charset="0"/>
                <a:buNone/>
              </a:pPr>
              <a:endParaRPr lang="en-US" sz="20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F24EF291-C501-D101-0029-071EE9043CF4}"/>
                </a:ext>
              </a:extLst>
            </p:cNvPr>
            <p:cNvSpPr/>
            <p:nvPr/>
          </p:nvSpPr>
          <p:spPr>
            <a:xfrm>
              <a:off x="4187983" y="2655114"/>
              <a:ext cx="2397874" cy="2733316"/>
            </a:xfrm>
            <a:custGeom>
              <a:avLst/>
              <a:gdLst>
                <a:gd name="connsiteX0" fmla="*/ 0 w 2397874"/>
                <a:gd name="connsiteY0" fmla="*/ 399654 h 2733316"/>
                <a:gd name="connsiteX1" fmla="*/ 399654 w 2397874"/>
                <a:gd name="connsiteY1" fmla="*/ 0 h 2733316"/>
                <a:gd name="connsiteX2" fmla="*/ 964481 w 2397874"/>
                <a:gd name="connsiteY2" fmla="*/ 0 h 2733316"/>
                <a:gd name="connsiteX3" fmla="*/ 1481350 w 2397874"/>
                <a:gd name="connsiteY3" fmla="*/ 0 h 2733316"/>
                <a:gd name="connsiteX4" fmla="*/ 1998220 w 2397874"/>
                <a:gd name="connsiteY4" fmla="*/ 0 h 2733316"/>
                <a:gd name="connsiteX5" fmla="*/ 2397874 w 2397874"/>
                <a:gd name="connsiteY5" fmla="*/ 399654 h 2733316"/>
                <a:gd name="connsiteX6" fmla="*/ 2397874 w 2397874"/>
                <a:gd name="connsiteY6" fmla="*/ 844476 h 2733316"/>
                <a:gd name="connsiteX7" fmla="*/ 2397874 w 2397874"/>
                <a:gd name="connsiteY7" fmla="*/ 1289298 h 2733316"/>
                <a:gd name="connsiteX8" fmla="*/ 2397874 w 2397874"/>
                <a:gd name="connsiteY8" fmla="*/ 1811480 h 2733316"/>
                <a:gd name="connsiteX9" fmla="*/ 2397874 w 2397874"/>
                <a:gd name="connsiteY9" fmla="*/ 2333662 h 2733316"/>
                <a:gd name="connsiteX10" fmla="*/ 1998220 w 2397874"/>
                <a:gd name="connsiteY10" fmla="*/ 2733316 h 2733316"/>
                <a:gd name="connsiteX11" fmla="*/ 1449379 w 2397874"/>
                <a:gd name="connsiteY11" fmla="*/ 2733316 h 2733316"/>
                <a:gd name="connsiteX12" fmla="*/ 884552 w 2397874"/>
                <a:gd name="connsiteY12" fmla="*/ 2733316 h 2733316"/>
                <a:gd name="connsiteX13" fmla="*/ 399654 w 2397874"/>
                <a:gd name="connsiteY13" fmla="*/ 2733316 h 2733316"/>
                <a:gd name="connsiteX14" fmla="*/ 0 w 2397874"/>
                <a:gd name="connsiteY14" fmla="*/ 2333662 h 2733316"/>
                <a:gd name="connsiteX15" fmla="*/ 0 w 2397874"/>
                <a:gd name="connsiteY15" fmla="*/ 1830820 h 2733316"/>
                <a:gd name="connsiteX16" fmla="*/ 0 w 2397874"/>
                <a:gd name="connsiteY16" fmla="*/ 1347318 h 2733316"/>
                <a:gd name="connsiteX17" fmla="*/ 0 w 2397874"/>
                <a:gd name="connsiteY17" fmla="*/ 921836 h 2733316"/>
                <a:gd name="connsiteX18" fmla="*/ 0 w 2397874"/>
                <a:gd name="connsiteY18" fmla="*/ 399654 h 2733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97874" h="2733316" extrusionOk="0">
                  <a:moveTo>
                    <a:pt x="0" y="399654"/>
                  </a:moveTo>
                  <a:cubicBezTo>
                    <a:pt x="-10482" y="172466"/>
                    <a:pt x="152588" y="9887"/>
                    <a:pt x="399654" y="0"/>
                  </a:cubicBezTo>
                  <a:cubicBezTo>
                    <a:pt x="540667" y="-11066"/>
                    <a:pt x="695052" y="22642"/>
                    <a:pt x="964481" y="0"/>
                  </a:cubicBezTo>
                  <a:cubicBezTo>
                    <a:pt x="1233910" y="-22642"/>
                    <a:pt x="1262477" y="1226"/>
                    <a:pt x="1481350" y="0"/>
                  </a:cubicBezTo>
                  <a:cubicBezTo>
                    <a:pt x="1700223" y="-1226"/>
                    <a:pt x="1885382" y="38571"/>
                    <a:pt x="1998220" y="0"/>
                  </a:cubicBezTo>
                  <a:cubicBezTo>
                    <a:pt x="2208875" y="-32428"/>
                    <a:pt x="2403850" y="156817"/>
                    <a:pt x="2397874" y="399654"/>
                  </a:cubicBezTo>
                  <a:cubicBezTo>
                    <a:pt x="2451140" y="558425"/>
                    <a:pt x="2388997" y="726433"/>
                    <a:pt x="2397874" y="844476"/>
                  </a:cubicBezTo>
                  <a:cubicBezTo>
                    <a:pt x="2406751" y="962519"/>
                    <a:pt x="2384850" y="1113238"/>
                    <a:pt x="2397874" y="1289298"/>
                  </a:cubicBezTo>
                  <a:cubicBezTo>
                    <a:pt x="2410898" y="1465358"/>
                    <a:pt x="2368204" y="1643424"/>
                    <a:pt x="2397874" y="1811480"/>
                  </a:cubicBezTo>
                  <a:cubicBezTo>
                    <a:pt x="2427544" y="1979536"/>
                    <a:pt x="2355214" y="2219126"/>
                    <a:pt x="2397874" y="2333662"/>
                  </a:cubicBezTo>
                  <a:cubicBezTo>
                    <a:pt x="2391322" y="2554010"/>
                    <a:pt x="2223980" y="2719503"/>
                    <a:pt x="1998220" y="2733316"/>
                  </a:cubicBezTo>
                  <a:cubicBezTo>
                    <a:pt x="1778184" y="2765386"/>
                    <a:pt x="1564337" y="2673273"/>
                    <a:pt x="1449379" y="2733316"/>
                  </a:cubicBezTo>
                  <a:cubicBezTo>
                    <a:pt x="1334421" y="2793359"/>
                    <a:pt x="1041443" y="2685170"/>
                    <a:pt x="884552" y="2733316"/>
                  </a:cubicBezTo>
                  <a:cubicBezTo>
                    <a:pt x="727661" y="2781462"/>
                    <a:pt x="548119" y="2732036"/>
                    <a:pt x="399654" y="2733316"/>
                  </a:cubicBezTo>
                  <a:cubicBezTo>
                    <a:pt x="128869" y="2741537"/>
                    <a:pt x="-27707" y="2535268"/>
                    <a:pt x="0" y="2333662"/>
                  </a:cubicBezTo>
                  <a:cubicBezTo>
                    <a:pt x="-46360" y="2218243"/>
                    <a:pt x="59734" y="2029316"/>
                    <a:pt x="0" y="1830820"/>
                  </a:cubicBezTo>
                  <a:cubicBezTo>
                    <a:pt x="-59734" y="1632324"/>
                    <a:pt x="6734" y="1552325"/>
                    <a:pt x="0" y="1347318"/>
                  </a:cubicBezTo>
                  <a:cubicBezTo>
                    <a:pt x="-6734" y="1142311"/>
                    <a:pt x="44272" y="1098623"/>
                    <a:pt x="0" y="921836"/>
                  </a:cubicBezTo>
                  <a:cubicBezTo>
                    <a:pt x="-44272" y="745049"/>
                    <a:pt x="59653" y="639142"/>
                    <a:pt x="0" y="399654"/>
                  </a:cubicBezTo>
                  <a:close/>
                </a:path>
              </a:pathLst>
            </a:custGeom>
            <a:noFill/>
            <a:ln w="25400"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Scribble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635B091D-0AC3-8352-5FC4-534BEEAB9F6D}"/>
                </a:ext>
              </a:extLst>
            </p:cNvPr>
            <p:cNvGrpSpPr/>
            <p:nvPr/>
          </p:nvGrpSpPr>
          <p:grpSpPr>
            <a:xfrm>
              <a:off x="4821882" y="2814862"/>
              <a:ext cx="1205990" cy="1353021"/>
              <a:chOff x="6618867" y="3226748"/>
              <a:chExt cx="1025861" cy="1089287"/>
            </a:xfrm>
          </p:grpSpPr>
          <p:pic>
            <p:nvPicPr>
              <p:cNvPr id="6" name="Picture 5">
                <a:extLst>
                  <a:ext uri="{FF2B5EF4-FFF2-40B4-BE49-F238E27FC236}">
                    <a16:creationId xmlns:a16="http://schemas.microsoft.com/office/drawing/2014/main" id="{8B4128EE-DA62-3C7D-8014-A881FECF1B9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868572" y="3226748"/>
                <a:ext cx="776156" cy="88703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3B3078C3-8143-909C-2BEE-0B8CD50B3DF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58686" y="3315374"/>
                <a:ext cx="776156" cy="88703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36C88CD1-5045-3A5E-AD25-30704E22BD0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18867" y="3429000"/>
                <a:ext cx="776156" cy="88703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6F126B8A-93B9-D2F9-F159-4B8D2A75B3DD}"/>
              </a:ext>
            </a:extLst>
          </p:cNvPr>
          <p:cNvGrpSpPr/>
          <p:nvPr/>
        </p:nvGrpSpPr>
        <p:grpSpPr>
          <a:xfrm>
            <a:off x="8235766" y="2552293"/>
            <a:ext cx="3226438" cy="3168521"/>
            <a:chOff x="7532914" y="2526460"/>
            <a:chExt cx="3226438" cy="3168521"/>
          </a:xfrm>
        </p:grpSpPr>
        <p:pic>
          <p:nvPicPr>
            <p:cNvPr id="15" name="Picture 14" descr="A blue letter a made of toy building blocks&#10;&#10;Description automatically generated">
              <a:extLst>
                <a:ext uri="{FF2B5EF4-FFF2-40B4-BE49-F238E27FC236}">
                  <a16:creationId xmlns:a16="http://schemas.microsoft.com/office/drawing/2014/main" id="{FCC4914A-A8C0-9BC5-4089-27074B66A77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97925" y="2526460"/>
              <a:ext cx="1963754" cy="1963754"/>
            </a:xfrm>
            <a:prstGeom prst="rect">
              <a:avLst/>
            </a:prstGeom>
          </p:spPr>
        </p:pic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4804B82E-E9C1-DD3E-AEBA-9A64F4356BD5}"/>
                </a:ext>
              </a:extLst>
            </p:cNvPr>
            <p:cNvSpPr/>
            <p:nvPr/>
          </p:nvSpPr>
          <p:spPr>
            <a:xfrm>
              <a:off x="8729254" y="4337825"/>
              <a:ext cx="1270677" cy="386034"/>
            </a:xfrm>
            <a:custGeom>
              <a:avLst/>
              <a:gdLst>
                <a:gd name="connsiteX0" fmla="*/ 0 w 1270677"/>
                <a:gd name="connsiteY0" fmla="*/ 64340 h 386034"/>
                <a:gd name="connsiteX1" fmla="*/ 64340 w 1270677"/>
                <a:gd name="connsiteY1" fmla="*/ 0 h 386034"/>
                <a:gd name="connsiteX2" fmla="*/ 658178 w 1270677"/>
                <a:gd name="connsiteY2" fmla="*/ 0 h 386034"/>
                <a:gd name="connsiteX3" fmla="*/ 1206337 w 1270677"/>
                <a:gd name="connsiteY3" fmla="*/ 0 h 386034"/>
                <a:gd name="connsiteX4" fmla="*/ 1270677 w 1270677"/>
                <a:gd name="connsiteY4" fmla="*/ 64340 h 386034"/>
                <a:gd name="connsiteX5" fmla="*/ 1270677 w 1270677"/>
                <a:gd name="connsiteY5" fmla="*/ 321694 h 386034"/>
                <a:gd name="connsiteX6" fmla="*/ 1206337 w 1270677"/>
                <a:gd name="connsiteY6" fmla="*/ 386034 h 386034"/>
                <a:gd name="connsiteX7" fmla="*/ 635339 w 1270677"/>
                <a:gd name="connsiteY7" fmla="*/ 386034 h 386034"/>
                <a:gd name="connsiteX8" fmla="*/ 64340 w 1270677"/>
                <a:gd name="connsiteY8" fmla="*/ 386034 h 386034"/>
                <a:gd name="connsiteX9" fmla="*/ 0 w 1270677"/>
                <a:gd name="connsiteY9" fmla="*/ 321694 h 386034"/>
                <a:gd name="connsiteX10" fmla="*/ 0 w 1270677"/>
                <a:gd name="connsiteY10" fmla="*/ 64340 h 38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70677" h="386034" extrusionOk="0">
                  <a:moveTo>
                    <a:pt x="0" y="64340"/>
                  </a:moveTo>
                  <a:cubicBezTo>
                    <a:pt x="-4036" y="26316"/>
                    <a:pt x="23893" y="1844"/>
                    <a:pt x="64340" y="0"/>
                  </a:cubicBezTo>
                  <a:cubicBezTo>
                    <a:pt x="305104" y="-12353"/>
                    <a:pt x="404359" y="-13726"/>
                    <a:pt x="658178" y="0"/>
                  </a:cubicBezTo>
                  <a:cubicBezTo>
                    <a:pt x="911997" y="13726"/>
                    <a:pt x="1013716" y="-11684"/>
                    <a:pt x="1206337" y="0"/>
                  </a:cubicBezTo>
                  <a:cubicBezTo>
                    <a:pt x="1234352" y="-4114"/>
                    <a:pt x="1274606" y="30683"/>
                    <a:pt x="1270677" y="64340"/>
                  </a:cubicBezTo>
                  <a:cubicBezTo>
                    <a:pt x="1276931" y="162416"/>
                    <a:pt x="1279897" y="205598"/>
                    <a:pt x="1270677" y="321694"/>
                  </a:cubicBezTo>
                  <a:cubicBezTo>
                    <a:pt x="1272476" y="354301"/>
                    <a:pt x="1236545" y="390714"/>
                    <a:pt x="1206337" y="386034"/>
                  </a:cubicBezTo>
                  <a:cubicBezTo>
                    <a:pt x="1018204" y="391331"/>
                    <a:pt x="872347" y="408582"/>
                    <a:pt x="635339" y="386034"/>
                  </a:cubicBezTo>
                  <a:cubicBezTo>
                    <a:pt x="398331" y="363486"/>
                    <a:pt x="230275" y="367458"/>
                    <a:pt x="64340" y="386034"/>
                  </a:cubicBezTo>
                  <a:cubicBezTo>
                    <a:pt x="21150" y="385596"/>
                    <a:pt x="2276" y="350987"/>
                    <a:pt x="0" y="321694"/>
                  </a:cubicBezTo>
                  <a:cubicBezTo>
                    <a:pt x="3363" y="261429"/>
                    <a:pt x="10077" y="168251"/>
                    <a:pt x="0" y="64340"/>
                  </a:cubicBezTo>
                  <a:close/>
                </a:path>
              </a:pathLst>
            </a:custGeom>
            <a:noFill/>
            <a:ln w="25400"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Platform</a:t>
              </a: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4BBAE00B-5B22-3315-FC13-44FF9745CE42}"/>
                </a:ext>
              </a:extLst>
            </p:cNvPr>
            <p:cNvSpPr/>
            <p:nvPr/>
          </p:nvSpPr>
          <p:spPr>
            <a:xfrm>
              <a:off x="7532914" y="4820356"/>
              <a:ext cx="1196340" cy="386034"/>
            </a:xfrm>
            <a:custGeom>
              <a:avLst/>
              <a:gdLst>
                <a:gd name="connsiteX0" fmla="*/ 0 w 1196340"/>
                <a:gd name="connsiteY0" fmla="*/ 64340 h 386034"/>
                <a:gd name="connsiteX1" fmla="*/ 64340 w 1196340"/>
                <a:gd name="connsiteY1" fmla="*/ 0 h 386034"/>
                <a:gd name="connsiteX2" fmla="*/ 619523 w 1196340"/>
                <a:gd name="connsiteY2" fmla="*/ 0 h 386034"/>
                <a:gd name="connsiteX3" fmla="*/ 1132000 w 1196340"/>
                <a:gd name="connsiteY3" fmla="*/ 0 h 386034"/>
                <a:gd name="connsiteX4" fmla="*/ 1196340 w 1196340"/>
                <a:gd name="connsiteY4" fmla="*/ 64340 h 386034"/>
                <a:gd name="connsiteX5" fmla="*/ 1196340 w 1196340"/>
                <a:gd name="connsiteY5" fmla="*/ 321694 h 386034"/>
                <a:gd name="connsiteX6" fmla="*/ 1132000 w 1196340"/>
                <a:gd name="connsiteY6" fmla="*/ 386034 h 386034"/>
                <a:gd name="connsiteX7" fmla="*/ 598170 w 1196340"/>
                <a:gd name="connsiteY7" fmla="*/ 386034 h 386034"/>
                <a:gd name="connsiteX8" fmla="*/ 64340 w 1196340"/>
                <a:gd name="connsiteY8" fmla="*/ 386034 h 386034"/>
                <a:gd name="connsiteX9" fmla="*/ 0 w 1196340"/>
                <a:gd name="connsiteY9" fmla="*/ 321694 h 386034"/>
                <a:gd name="connsiteX10" fmla="*/ 0 w 1196340"/>
                <a:gd name="connsiteY10" fmla="*/ 64340 h 38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6340" h="386034" extrusionOk="0">
                  <a:moveTo>
                    <a:pt x="0" y="64340"/>
                  </a:moveTo>
                  <a:cubicBezTo>
                    <a:pt x="-4036" y="26316"/>
                    <a:pt x="23893" y="1844"/>
                    <a:pt x="64340" y="0"/>
                  </a:cubicBezTo>
                  <a:cubicBezTo>
                    <a:pt x="322141" y="-16284"/>
                    <a:pt x="506193" y="25321"/>
                    <a:pt x="619523" y="0"/>
                  </a:cubicBezTo>
                  <a:cubicBezTo>
                    <a:pt x="732853" y="-25321"/>
                    <a:pt x="1012710" y="-17698"/>
                    <a:pt x="1132000" y="0"/>
                  </a:cubicBezTo>
                  <a:cubicBezTo>
                    <a:pt x="1160015" y="-4114"/>
                    <a:pt x="1200269" y="30683"/>
                    <a:pt x="1196340" y="64340"/>
                  </a:cubicBezTo>
                  <a:cubicBezTo>
                    <a:pt x="1202594" y="162416"/>
                    <a:pt x="1205560" y="205598"/>
                    <a:pt x="1196340" y="321694"/>
                  </a:cubicBezTo>
                  <a:cubicBezTo>
                    <a:pt x="1198139" y="354301"/>
                    <a:pt x="1162208" y="390714"/>
                    <a:pt x="1132000" y="386034"/>
                  </a:cubicBezTo>
                  <a:cubicBezTo>
                    <a:pt x="940989" y="384450"/>
                    <a:pt x="717872" y="379207"/>
                    <a:pt x="598170" y="386034"/>
                  </a:cubicBezTo>
                  <a:cubicBezTo>
                    <a:pt x="478468" y="392862"/>
                    <a:pt x="178364" y="360389"/>
                    <a:pt x="64340" y="386034"/>
                  </a:cubicBezTo>
                  <a:cubicBezTo>
                    <a:pt x="21150" y="385596"/>
                    <a:pt x="2276" y="350987"/>
                    <a:pt x="0" y="321694"/>
                  </a:cubicBezTo>
                  <a:cubicBezTo>
                    <a:pt x="3363" y="261429"/>
                    <a:pt x="10077" y="168251"/>
                    <a:pt x="0" y="64340"/>
                  </a:cubicBezTo>
                  <a:close/>
                </a:path>
              </a:pathLst>
            </a:custGeom>
            <a:noFill/>
            <a:ln w="25400"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LZ# </a:t>
              </a:r>
              <a:r>
                <a:rPr lang="en-US" dirty="0" err="1">
                  <a:solidFill>
                    <a:schemeClr val="tx1"/>
                  </a:solidFill>
                </a:rPr>
                <a:t>prd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93AF4BB0-878B-34E8-5660-762F56526A7D}"/>
                </a:ext>
              </a:extLst>
            </p:cNvPr>
            <p:cNvSpPr/>
            <p:nvPr/>
          </p:nvSpPr>
          <p:spPr>
            <a:xfrm>
              <a:off x="8803591" y="4834271"/>
              <a:ext cx="1196340" cy="386034"/>
            </a:xfrm>
            <a:custGeom>
              <a:avLst/>
              <a:gdLst>
                <a:gd name="connsiteX0" fmla="*/ 0 w 1196340"/>
                <a:gd name="connsiteY0" fmla="*/ 64340 h 386034"/>
                <a:gd name="connsiteX1" fmla="*/ 64340 w 1196340"/>
                <a:gd name="connsiteY1" fmla="*/ 0 h 386034"/>
                <a:gd name="connsiteX2" fmla="*/ 619523 w 1196340"/>
                <a:gd name="connsiteY2" fmla="*/ 0 h 386034"/>
                <a:gd name="connsiteX3" fmla="*/ 1132000 w 1196340"/>
                <a:gd name="connsiteY3" fmla="*/ 0 h 386034"/>
                <a:gd name="connsiteX4" fmla="*/ 1196340 w 1196340"/>
                <a:gd name="connsiteY4" fmla="*/ 64340 h 386034"/>
                <a:gd name="connsiteX5" fmla="*/ 1196340 w 1196340"/>
                <a:gd name="connsiteY5" fmla="*/ 321694 h 386034"/>
                <a:gd name="connsiteX6" fmla="*/ 1132000 w 1196340"/>
                <a:gd name="connsiteY6" fmla="*/ 386034 h 386034"/>
                <a:gd name="connsiteX7" fmla="*/ 598170 w 1196340"/>
                <a:gd name="connsiteY7" fmla="*/ 386034 h 386034"/>
                <a:gd name="connsiteX8" fmla="*/ 64340 w 1196340"/>
                <a:gd name="connsiteY8" fmla="*/ 386034 h 386034"/>
                <a:gd name="connsiteX9" fmla="*/ 0 w 1196340"/>
                <a:gd name="connsiteY9" fmla="*/ 321694 h 386034"/>
                <a:gd name="connsiteX10" fmla="*/ 0 w 1196340"/>
                <a:gd name="connsiteY10" fmla="*/ 64340 h 38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6340" h="386034" extrusionOk="0">
                  <a:moveTo>
                    <a:pt x="0" y="64340"/>
                  </a:moveTo>
                  <a:cubicBezTo>
                    <a:pt x="-4036" y="26316"/>
                    <a:pt x="23893" y="1844"/>
                    <a:pt x="64340" y="0"/>
                  </a:cubicBezTo>
                  <a:cubicBezTo>
                    <a:pt x="322141" y="-16284"/>
                    <a:pt x="506193" y="25321"/>
                    <a:pt x="619523" y="0"/>
                  </a:cubicBezTo>
                  <a:cubicBezTo>
                    <a:pt x="732853" y="-25321"/>
                    <a:pt x="1012710" y="-17698"/>
                    <a:pt x="1132000" y="0"/>
                  </a:cubicBezTo>
                  <a:cubicBezTo>
                    <a:pt x="1160015" y="-4114"/>
                    <a:pt x="1200269" y="30683"/>
                    <a:pt x="1196340" y="64340"/>
                  </a:cubicBezTo>
                  <a:cubicBezTo>
                    <a:pt x="1202594" y="162416"/>
                    <a:pt x="1205560" y="205598"/>
                    <a:pt x="1196340" y="321694"/>
                  </a:cubicBezTo>
                  <a:cubicBezTo>
                    <a:pt x="1198139" y="354301"/>
                    <a:pt x="1162208" y="390714"/>
                    <a:pt x="1132000" y="386034"/>
                  </a:cubicBezTo>
                  <a:cubicBezTo>
                    <a:pt x="940989" y="384450"/>
                    <a:pt x="717872" y="379207"/>
                    <a:pt x="598170" y="386034"/>
                  </a:cubicBezTo>
                  <a:cubicBezTo>
                    <a:pt x="478468" y="392862"/>
                    <a:pt x="178364" y="360389"/>
                    <a:pt x="64340" y="386034"/>
                  </a:cubicBezTo>
                  <a:cubicBezTo>
                    <a:pt x="21150" y="385596"/>
                    <a:pt x="2276" y="350987"/>
                    <a:pt x="0" y="321694"/>
                  </a:cubicBezTo>
                  <a:cubicBezTo>
                    <a:pt x="3363" y="261429"/>
                    <a:pt x="10077" y="168251"/>
                    <a:pt x="0" y="64340"/>
                  </a:cubicBezTo>
                  <a:close/>
                </a:path>
              </a:pathLst>
            </a:custGeom>
            <a:noFill/>
            <a:ln w="25400"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LZ# stg</a:t>
              </a:r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4B09B066-EBED-F2DD-F147-FF8FFF711CCA}"/>
                </a:ext>
              </a:extLst>
            </p:cNvPr>
            <p:cNvSpPr/>
            <p:nvPr/>
          </p:nvSpPr>
          <p:spPr>
            <a:xfrm>
              <a:off x="9563012" y="5308014"/>
              <a:ext cx="1196340" cy="386034"/>
            </a:xfrm>
            <a:custGeom>
              <a:avLst/>
              <a:gdLst>
                <a:gd name="connsiteX0" fmla="*/ 0 w 1196340"/>
                <a:gd name="connsiteY0" fmla="*/ 64340 h 386034"/>
                <a:gd name="connsiteX1" fmla="*/ 64340 w 1196340"/>
                <a:gd name="connsiteY1" fmla="*/ 0 h 386034"/>
                <a:gd name="connsiteX2" fmla="*/ 619523 w 1196340"/>
                <a:gd name="connsiteY2" fmla="*/ 0 h 386034"/>
                <a:gd name="connsiteX3" fmla="*/ 1132000 w 1196340"/>
                <a:gd name="connsiteY3" fmla="*/ 0 h 386034"/>
                <a:gd name="connsiteX4" fmla="*/ 1196340 w 1196340"/>
                <a:gd name="connsiteY4" fmla="*/ 64340 h 386034"/>
                <a:gd name="connsiteX5" fmla="*/ 1196340 w 1196340"/>
                <a:gd name="connsiteY5" fmla="*/ 321694 h 386034"/>
                <a:gd name="connsiteX6" fmla="*/ 1132000 w 1196340"/>
                <a:gd name="connsiteY6" fmla="*/ 386034 h 386034"/>
                <a:gd name="connsiteX7" fmla="*/ 598170 w 1196340"/>
                <a:gd name="connsiteY7" fmla="*/ 386034 h 386034"/>
                <a:gd name="connsiteX8" fmla="*/ 64340 w 1196340"/>
                <a:gd name="connsiteY8" fmla="*/ 386034 h 386034"/>
                <a:gd name="connsiteX9" fmla="*/ 0 w 1196340"/>
                <a:gd name="connsiteY9" fmla="*/ 321694 h 386034"/>
                <a:gd name="connsiteX10" fmla="*/ 0 w 1196340"/>
                <a:gd name="connsiteY10" fmla="*/ 64340 h 38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6340" h="386034" extrusionOk="0">
                  <a:moveTo>
                    <a:pt x="0" y="64340"/>
                  </a:moveTo>
                  <a:cubicBezTo>
                    <a:pt x="-4036" y="26316"/>
                    <a:pt x="23893" y="1844"/>
                    <a:pt x="64340" y="0"/>
                  </a:cubicBezTo>
                  <a:cubicBezTo>
                    <a:pt x="322141" y="-16284"/>
                    <a:pt x="506193" y="25321"/>
                    <a:pt x="619523" y="0"/>
                  </a:cubicBezTo>
                  <a:cubicBezTo>
                    <a:pt x="732853" y="-25321"/>
                    <a:pt x="1012710" y="-17698"/>
                    <a:pt x="1132000" y="0"/>
                  </a:cubicBezTo>
                  <a:cubicBezTo>
                    <a:pt x="1160015" y="-4114"/>
                    <a:pt x="1200269" y="30683"/>
                    <a:pt x="1196340" y="64340"/>
                  </a:cubicBezTo>
                  <a:cubicBezTo>
                    <a:pt x="1202594" y="162416"/>
                    <a:pt x="1205560" y="205598"/>
                    <a:pt x="1196340" y="321694"/>
                  </a:cubicBezTo>
                  <a:cubicBezTo>
                    <a:pt x="1198139" y="354301"/>
                    <a:pt x="1162208" y="390714"/>
                    <a:pt x="1132000" y="386034"/>
                  </a:cubicBezTo>
                  <a:cubicBezTo>
                    <a:pt x="940989" y="384450"/>
                    <a:pt x="717872" y="379207"/>
                    <a:pt x="598170" y="386034"/>
                  </a:cubicBezTo>
                  <a:cubicBezTo>
                    <a:pt x="478468" y="392862"/>
                    <a:pt x="178364" y="360389"/>
                    <a:pt x="64340" y="386034"/>
                  </a:cubicBezTo>
                  <a:cubicBezTo>
                    <a:pt x="21150" y="385596"/>
                    <a:pt x="2276" y="350987"/>
                    <a:pt x="0" y="321694"/>
                  </a:cubicBezTo>
                  <a:cubicBezTo>
                    <a:pt x="3363" y="261429"/>
                    <a:pt x="10077" y="168251"/>
                    <a:pt x="0" y="64340"/>
                  </a:cubicBezTo>
                  <a:close/>
                </a:path>
              </a:pathLst>
            </a:custGeom>
            <a:noFill/>
            <a:ln w="25400">
              <a:solidFill>
                <a:srgbClr val="0070C0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LZ# dev</a:t>
              </a:r>
            </a:p>
          </p:txBody>
        </p: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D4171CAC-B2D0-90DE-FECC-1478466DCFD4}"/>
                </a:ext>
              </a:extLst>
            </p:cNvPr>
            <p:cNvSpPr/>
            <p:nvPr/>
          </p:nvSpPr>
          <p:spPr>
            <a:xfrm>
              <a:off x="7899730" y="5308947"/>
              <a:ext cx="1546326" cy="386034"/>
            </a:xfrm>
            <a:custGeom>
              <a:avLst/>
              <a:gdLst>
                <a:gd name="connsiteX0" fmla="*/ 0 w 1546326"/>
                <a:gd name="connsiteY0" fmla="*/ 64340 h 386034"/>
                <a:gd name="connsiteX1" fmla="*/ 64340 w 1546326"/>
                <a:gd name="connsiteY1" fmla="*/ 0 h 386034"/>
                <a:gd name="connsiteX2" fmla="*/ 565242 w 1546326"/>
                <a:gd name="connsiteY2" fmla="*/ 0 h 386034"/>
                <a:gd name="connsiteX3" fmla="*/ 1023614 w 1546326"/>
                <a:gd name="connsiteY3" fmla="*/ 0 h 386034"/>
                <a:gd name="connsiteX4" fmla="*/ 1481986 w 1546326"/>
                <a:gd name="connsiteY4" fmla="*/ 0 h 386034"/>
                <a:gd name="connsiteX5" fmla="*/ 1546326 w 1546326"/>
                <a:gd name="connsiteY5" fmla="*/ 64340 h 386034"/>
                <a:gd name="connsiteX6" fmla="*/ 1546326 w 1546326"/>
                <a:gd name="connsiteY6" fmla="*/ 321694 h 386034"/>
                <a:gd name="connsiteX7" fmla="*/ 1481986 w 1546326"/>
                <a:gd name="connsiteY7" fmla="*/ 386034 h 386034"/>
                <a:gd name="connsiteX8" fmla="*/ 1037790 w 1546326"/>
                <a:gd name="connsiteY8" fmla="*/ 386034 h 386034"/>
                <a:gd name="connsiteX9" fmla="*/ 565242 w 1546326"/>
                <a:gd name="connsiteY9" fmla="*/ 386034 h 386034"/>
                <a:gd name="connsiteX10" fmla="*/ 64340 w 1546326"/>
                <a:gd name="connsiteY10" fmla="*/ 386034 h 386034"/>
                <a:gd name="connsiteX11" fmla="*/ 0 w 1546326"/>
                <a:gd name="connsiteY11" fmla="*/ 321694 h 386034"/>
                <a:gd name="connsiteX12" fmla="*/ 0 w 1546326"/>
                <a:gd name="connsiteY12" fmla="*/ 64340 h 38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46326" h="386034" extrusionOk="0">
                  <a:moveTo>
                    <a:pt x="0" y="64340"/>
                  </a:moveTo>
                  <a:cubicBezTo>
                    <a:pt x="-4036" y="26316"/>
                    <a:pt x="23893" y="1844"/>
                    <a:pt x="64340" y="0"/>
                  </a:cubicBezTo>
                  <a:cubicBezTo>
                    <a:pt x="310500" y="24628"/>
                    <a:pt x="427639" y="-3787"/>
                    <a:pt x="565242" y="0"/>
                  </a:cubicBezTo>
                  <a:cubicBezTo>
                    <a:pt x="702845" y="3787"/>
                    <a:pt x="843780" y="18176"/>
                    <a:pt x="1023614" y="0"/>
                  </a:cubicBezTo>
                  <a:cubicBezTo>
                    <a:pt x="1203448" y="-18176"/>
                    <a:pt x="1354143" y="-15980"/>
                    <a:pt x="1481986" y="0"/>
                  </a:cubicBezTo>
                  <a:cubicBezTo>
                    <a:pt x="1515904" y="-5204"/>
                    <a:pt x="1546920" y="26606"/>
                    <a:pt x="1546326" y="64340"/>
                  </a:cubicBezTo>
                  <a:cubicBezTo>
                    <a:pt x="1554989" y="188801"/>
                    <a:pt x="1542785" y="261721"/>
                    <a:pt x="1546326" y="321694"/>
                  </a:cubicBezTo>
                  <a:cubicBezTo>
                    <a:pt x="1545677" y="351043"/>
                    <a:pt x="1515274" y="389155"/>
                    <a:pt x="1481986" y="386034"/>
                  </a:cubicBezTo>
                  <a:cubicBezTo>
                    <a:pt x="1274341" y="382391"/>
                    <a:pt x="1172771" y="404536"/>
                    <a:pt x="1037790" y="386034"/>
                  </a:cubicBezTo>
                  <a:cubicBezTo>
                    <a:pt x="902809" y="367532"/>
                    <a:pt x="680366" y="387399"/>
                    <a:pt x="565242" y="386034"/>
                  </a:cubicBezTo>
                  <a:cubicBezTo>
                    <a:pt x="450118" y="384669"/>
                    <a:pt x="302609" y="374093"/>
                    <a:pt x="64340" y="386034"/>
                  </a:cubicBezTo>
                  <a:cubicBezTo>
                    <a:pt x="31617" y="383256"/>
                    <a:pt x="7380" y="352469"/>
                    <a:pt x="0" y="321694"/>
                  </a:cubicBezTo>
                  <a:cubicBezTo>
                    <a:pt x="5004" y="229282"/>
                    <a:pt x="4162" y="187148"/>
                    <a:pt x="0" y="64340"/>
                  </a:cubicBezTo>
                  <a:close/>
                </a:path>
              </a:pathLst>
            </a:custGeom>
            <a:noFill/>
            <a:ln w="25400">
              <a:solidFill>
                <a:srgbClr val="0070C0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LZ# sandbox</a:t>
              </a:r>
            </a:p>
          </p:txBody>
        </p:sp>
      </p:grpSp>
      <p:pic>
        <p:nvPicPr>
          <p:cNvPr id="23" name="Picture 2">
            <a:extLst>
              <a:ext uri="{FF2B5EF4-FFF2-40B4-BE49-F238E27FC236}">
                <a16:creationId xmlns:a16="http://schemas.microsoft.com/office/drawing/2014/main" id="{22C834B1-79D5-4332-AF84-0BE953D7AF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5552" y="4515637"/>
            <a:ext cx="913743" cy="913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EC521153-7FDC-0D54-A1FF-E85516DABDA3}"/>
              </a:ext>
            </a:extLst>
          </p:cNvPr>
          <p:cNvSpPr/>
          <p:nvPr/>
        </p:nvSpPr>
        <p:spPr>
          <a:xfrm>
            <a:off x="564242" y="2504751"/>
            <a:ext cx="3907982" cy="1833074"/>
          </a:xfrm>
          <a:custGeom>
            <a:avLst/>
            <a:gdLst>
              <a:gd name="connsiteX0" fmla="*/ 0 w 3907982"/>
              <a:gd name="connsiteY0" fmla="*/ 305518 h 1833074"/>
              <a:gd name="connsiteX1" fmla="*/ 305518 w 3907982"/>
              <a:gd name="connsiteY1" fmla="*/ 0 h 1833074"/>
              <a:gd name="connsiteX2" fmla="*/ 920948 w 3907982"/>
              <a:gd name="connsiteY2" fmla="*/ 0 h 1833074"/>
              <a:gd name="connsiteX3" fmla="*/ 1437469 w 3907982"/>
              <a:gd name="connsiteY3" fmla="*/ 0 h 1833074"/>
              <a:gd name="connsiteX4" fmla="*/ 1921022 w 3907982"/>
              <a:gd name="connsiteY4" fmla="*/ 0 h 1833074"/>
              <a:gd name="connsiteX5" fmla="*/ 2503482 w 3907982"/>
              <a:gd name="connsiteY5" fmla="*/ 0 h 1833074"/>
              <a:gd name="connsiteX6" fmla="*/ 3020004 w 3907982"/>
              <a:gd name="connsiteY6" fmla="*/ 0 h 1833074"/>
              <a:gd name="connsiteX7" fmla="*/ 3602464 w 3907982"/>
              <a:gd name="connsiteY7" fmla="*/ 0 h 1833074"/>
              <a:gd name="connsiteX8" fmla="*/ 3907982 w 3907982"/>
              <a:gd name="connsiteY8" fmla="*/ 305518 h 1833074"/>
              <a:gd name="connsiteX9" fmla="*/ 3907982 w 3907982"/>
              <a:gd name="connsiteY9" fmla="*/ 688423 h 1833074"/>
              <a:gd name="connsiteX10" fmla="*/ 3907982 w 3907982"/>
              <a:gd name="connsiteY10" fmla="*/ 1095769 h 1833074"/>
              <a:gd name="connsiteX11" fmla="*/ 3907982 w 3907982"/>
              <a:gd name="connsiteY11" fmla="*/ 1527556 h 1833074"/>
              <a:gd name="connsiteX12" fmla="*/ 3602464 w 3907982"/>
              <a:gd name="connsiteY12" fmla="*/ 1833074 h 1833074"/>
              <a:gd name="connsiteX13" fmla="*/ 3052973 w 3907982"/>
              <a:gd name="connsiteY13" fmla="*/ 1833074 h 1833074"/>
              <a:gd name="connsiteX14" fmla="*/ 2569421 w 3907982"/>
              <a:gd name="connsiteY14" fmla="*/ 1833074 h 1833074"/>
              <a:gd name="connsiteX15" fmla="*/ 2019930 w 3907982"/>
              <a:gd name="connsiteY15" fmla="*/ 1833074 h 1833074"/>
              <a:gd name="connsiteX16" fmla="*/ 1404500 w 3907982"/>
              <a:gd name="connsiteY16" fmla="*/ 1833074 h 1833074"/>
              <a:gd name="connsiteX17" fmla="*/ 855009 w 3907982"/>
              <a:gd name="connsiteY17" fmla="*/ 1833074 h 1833074"/>
              <a:gd name="connsiteX18" fmla="*/ 305518 w 3907982"/>
              <a:gd name="connsiteY18" fmla="*/ 1833074 h 1833074"/>
              <a:gd name="connsiteX19" fmla="*/ 0 w 3907982"/>
              <a:gd name="connsiteY19" fmla="*/ 1527556 h 1833074"/>
              <a:gd name="connsiteX20" fmla="*/ 0 w 3907982"/>
              <a:gd name="connsiteY20" fmla="*/ 1107990 h 1833074"/>
              <a:gd name="connsiteX21" fmla="*/ 0 w 3907982"/>
              <a:gd name="connsiteY21" fmla="*/ 725084 h 1833074"/>
              <a:gd name="connsiteX22" fmla="*/ 0 w 3907982"/>
              <a:gd name="connsiteY22" fmla="*/ 305518 h 1833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07982" h="1833074" extrusionOk="0">
                <a:moveTo>
                  <a:pt x="0" y="305518"/>
                </a:moveTo>
                <a:cubicBezTo>
                  <a:pt x="-39719" y="112285"/>
                  <a:pt x="109445" y="10261"/>
                  <a:pt x="305518" y="0"/>
                </a:cubicBezTo>
                <a:cubicBezTo>
                  <a:pt x="456306" y="-12504"/>
                  <a:pt x="786712" y="45893"/>
                  <a:pt x="920948" y="0"/>
                </a:cubicBezTo>
                <a:cubicBezTo>
                  <a:pt x="1055184" y="-45893"/>
                  <a:pt x="1180144" y="48684"/>
                  <a:pt x="1437469" y="0"/>
                </a:cubicBezTo>
                <a:cubicBezTo>
                  <a:pt x="1694794" y="-48684"/>
                  <a:pt x="1779175" y="49989"/>
                  <a:pt x="1921022" y="0"/>
                </a:cubicBezTo>
                <a:cubicBezTo>
                  <a:pt x="2062869" y="-49989"/>
                  <a:pt x="2337571" y="34674"/>
                  <a:pt x="2503482" y="0"/>
                </a:cubicBezTo>
                <a:cubicBezTo>
                  <a:pt x="2669393" y="-34674"/>
                  <a:pt x="2857955" y="60254"/>
                  <a:pt x="3020004" y="0"/>
                </a:cubicBezTo>
                <a:cubicBezTo>
                  <a:pt x="3182053" y="-60254"/>
                  <a:pt x="3385688" y="51527"/>
                  <a:pt x="3602464" y="0"/>
                </a:cubicBezTo>
                <a:cubicBezTo>
                  <a:pt x="3767553" y="-34750"/>
                  <a:pt x="3894325" y="155764"/>
                  <a:pt x="3907982" y="305518"/>
                </a:cubicBezTo>
                <a:cubicBezTo>
                  <a:pt x="3919606" y="465513"/>
                  <a:pt x="3880063" y="564339"/>
                  <a:pt x="3907982" y="688423"/>
                </a:cubicBezTo>
                <a:cubicBezTo>
                  <a:pt x="3935901" y="812507"/>
                  <a:pt x="3881839" y="1012805"/>
                  <a:pt x="3907982" y="1095769"/>
                </a:cubicBezTo>
                <a:cubicBezTo>
                  <a:pt x="3934125" y="1178733"/>
                  <a:pt x="3899721" y="1376694"/>
                  <a:pt x="3907982" y="1527556"/>
                </a:cubicBezTo>
                <a:cubicBezTo>
                  <a:pt x="3933279" y="1671291"/>
                  <a:pt x="3801987" y="1813220"/>
                  <a:pt x="3602464" y="1833074"/>
                </a:cubicBezTo>
                <a:cubicBezTo>
                  <a:pt x="3438587" y="1838912"/>
                  <a:pt x="3221395" y="1783938"/>
                  <a:pt x="3052973" y="1833074"/>
                </a:cubicBezTo>
                <a:cubicBezTo>
                  <a:pt x="2884551" y="1882210"/>
                  <a:pt x="2685129" y="1810297"/>
                  <a:pt x="2569421" y="1833074"/>
                </a:cubicBezTo>
                <a:cubicBezTo>
                  <a:pt x="2453713" y="1855851"/>
                  <a:pt x="2260058" y="1790275"/>
                  <a:pt x="2019930" y="1833074"/>
                </a:cubicBezTo>
                <a:cubicBezTo>
                  <a:pt x="1779802" y="1875873"/>
                  <a:pt x="1700005" y="1762651"/>
                  <a:pt x="1404500" y="1833074"/>
                </a:cubicBezTo>
                <a:cubicBezTo>
                  <a:pt x="1108995" y="1903497"/>
                  <a:pt x="1014025" y="1802264"/>
                  <a:pt x="855009" y="1833074"/>
                </a:cubicBezTo>
                <a:cubicBezTo>
                  <a:pt x="695993" y="1863884"/>
                  <a:pt x="498871" y="1783663"/>
                  <a:pt x="305518" y="1833074"/>
                </a:cubicBezTo>
                <a:cubicBezTo>
                  <a:pt x="98857" y="1834636"/>
                  <a:pt x="13740" y="1671520"/>
                  <a:pt x="0" y="1527556"/>
                </a:cubicBezTo>
                <a:cubicBezTo>
                  <a:pt x="-21170" y="1347005"/>
                  <a:pt x="13494" y="1243168"/>
                  <a:pt x="0" y="1107990"/>
                </a:cubicBezTo>
                <a:cubicBezTo>
                  <a:pt x="-13494" y="972812"/>
                  <a:pt x="10149" y="870873"/>
                  <a:pt x="0" y="725084"/>
                </a:cubicBezTo>
                <a:cubicBezTo>
                  <a:pt x="-10149" y="579295"/>
                  <a:pt x="42308" y="507439"/>
                  <a:pt x="0" y="305518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62BCA87-04BA-C41F-6A5B-30224D078CE8}"/>
              </a:ext>
            </a:extLst>
          </p:cNvPr>
          <p:cNvSpPr txBox="1"/>
          <p:nvPr/>
        </p:nvSpPr>
        <p:spPr>
          <a:xfrm>
            <a:off x="658652" y="2740279"/>
            <a:ext cx="231585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dirty="0"/>
              <a:t>Relaxed RBAC even in large enterprises non prod environments</a:t>
            </a:r>
          </a:p>
          <a:p>
            <a:endParaRPr lang="en-US" dirty="0"/>
          </a:p>
          <a:p>
            <a:pPr marL="285750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endParaRPr lang="en-US" dirty="0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387628A2-3D48-D77D-73EF-ABCFA4344C4E}"/>
              </a:ext>
            </a:extLst>
          </p:cNvPr>
          <p:cNvSpPr/>
          <p:nvPr/>
        </p:nvSpPr>
        <p:spPr>
          <a:xfrm>
            <a:off x="564242" y="4417383"/>
            <a:ext cx="3907982" cy="1833074"/>
          </a:xfrm>
          <a:custGeom>
            <a:avLst/>
            <a:gdLst>
              <a:gd name="connsiteX0" fmla="*/ 0 w 3907982"/>
              <a:gd name="connsiteY0" fmla="*/ 305518 h 1833074"/>
              <a:gd name="connsiteX1" fmla="*/ 305518 w 3907982"/>
              <a:gd name="connsiteY1" fmla="*/ 0 h 1833074"/>
              <a:gd name="connsiteX2" fmla="*/ 920948 w 3907982"/>
              <a:gd name="connsiteY2" fmla="*/ 0 h 1833074"/>
              <a:gd name="connsiteX3" fmla="*/ 1437469 w 3907982"/>
              <a:gd name="connsiteY3" fmla="*/ 0 h 1833074"/>
              <a:gd name="connsiteX4" fmla="*/ 1921022 w 3907982"/>
              <a:gd name="connsiteY4" fmla="*/ 0 h 1833074"/>
              <a:gd name="connsiteX5" fmla="*/ 2503482 w 3907982"/>
              <a:gd name="connsiteY5" fmla="*/ 0 h 1833074"/>
              <a:gd name="connsiteX6" fmla="*/ 3020004 w 3907982"/>
              <a:gd name="connsiteY6" fmla="*/ 0 h 1833074"/>
              <a:gd name="connsiteX7" fmla="*/ 3602464 w 3907982"/>
              <a:gd name="connsiteY7" fmla="*/ 0 h 1833074"/>
              <a:gd name="connsiteX8" fmla="*/ 3907982 w 3907982"/>
              <a:gd name="connsiteY8" fmla="*/ 305518 h 1833074"/>
              <a:gd name="connsiteX9" fmla="*/ 3907982 w 3907982"/>
              <a:gd name="connsiteY9" fmla="*/ 688423 h 1833074"/>
              <a:gd name="connsiteX10" fmla="*/ 3907982 w 3907982"/>
              <a:gd name="connsiteY10" fmla="*/ 1095769 h 1833074"/>
              <a:gd name="connsiteX11" fmla="*/ 3907982 w 3907982"/>
              <a:gd name="connsiteY11" fmla="*/ 1527556 h 1833074"/>
              <a:gd name="connsiteX12" fmla="*/ 3602464 w 3907982"/>
              <a:gd name="connsiteY12" fmla="*/ 1833074 h 1833074"/>
              <a:gd name="connsiteX13" fmla="*/ 3052973 w 3907982"/>
              <a:gd name="connsiteY13" fmla="*/ 1833074 h 1833074"/>
              <a:gd name="connsiteX14" fmla="*/ 2569421 w 3907982"/>
              <a:gd name="connsiteY14" fmla="*/ 1833074 h 1833074"/>
              <a:gd name="connsiteX15" fmla="*/ 2019930 w 3907982"/>
              <a:gd name="connsiteY15" fmla="*/ 1833074 h 1833074"/>
              <a:gd name="connsiteX16" fmla="*/ 1404500 w 3907982"/>
              <a:gd name="connsiteY16" fmla="*/ 1833074 h 1833074"/>
              <a:gd name="connsiteX17" fmla="*/ 855009 w 3907982"/>
              <a:gd name="connsiteY17" fmla="*/ 1833074 h 1833074"/>
              <a:gd name="connsiteX18" fmla="*/ 305518 w 3907982"/>
              <a:gd name="connsiteY18" fmla="*/ 1833074 h 1833074"/>
              <a:gd name="connsiteX19" fmla="*/ 0 w 3907982"/>
              <a:gd name="connsiteY19" fmla="*/ 1527556 h 1833074"/>
              <a:gd name="connsiteX20" fmla="*/ 0 w 3907982"/>
              <a:gd name="connsiteY20" fmla="*/ 1107990 h 1833074"/>
              <a:gd name="connsiteX21" fmla="*/ 0 w 3907982"/>
              <a:gd name="connsiteY21" fmla="*/ 725084 h 1833074"/>
              <a:gd name="connsiteX22" fmla="*/ 0 w 3907982"/>
              <a:gd name="connsiteY22" fmla="*/ 305518 h 1833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07982" h="1833074" extrusionOk="0">
                <a:moveTo>
                  <a:pt x="0" y="305518"/>
                </a:moveTo>
                <a:cubicBezTo>
                  <a:pt x="-39719" y="112285"/>
                  <a:pt x="109445" y="10261"/>
                  <a:pt x="305518" y="0"/>
                </a:cubicBezTo>
                <a:cubicBezTo>
                  <a:pt x="456306" y="-12504"/>
                  <a:pt x="786712" y="45893"/>
                  <a:pt x="920948" y="0"/>
                </a:cubicBezTo>
                <a:cubicBezTo>
                  <a:pt x="1055184" y="-45893"/>
                  <a:pt x="1180144" y="48684"/>
                  <a:pt x="1437469" y="0"/>
                </a:cubicBezTo>
                <a:cubicBezTo>
                  <a:pt x="1694794" y="-48684"/>
                  <a:pt x="1779175" y="49989"/>
                  <a:pt x="1921022" y="0"/>
                </a:cubicBezTo>
                <a:cubicBezTo>
                  <a:pt x="2062869" y="-49989"/>
                  <a:pt x="2337571" y="34674"/>
                  <a:pt x="2503482" y="0"/>
                </a:cubicBezTo>
                <a:cubicBezTo>
                  <a:pt x="2669393" y="-34674"/>
                  <a:pt x="2857955" y="60254"/>
                  <a:pt x="3020004" y="0"/>
                </a:cubicBezTo>
                <a:cubicBezTo>
                  <a:pt x="3182053" y="-60254"/>
                  <a:pt x="3385688" y="51527"/>
                  <a:pt x="3602464" y="0"/>
                </a:cubicBezTo>
                <a:cubicBezTo>
                  <a:pt x="3767553" y="-34750"/>
                  <a:pt x="3894325" y="155764"/>
                  <a:pt x="3907982" y="305518"/>
                </a:cubicBezTo>
                <a:cubicBezTo>
                  <a:pt x="3919606" y="465513"/>
                  <a:pt x="3880063" y="564339"/>
                  <a:pt x="3907982" y="688423"/>
                </a:cubicBezTo>
                <a:cubicBezTo>
                  <a:pt x="3935901" y="812507"/>
                  <a:pt x="3881839" y="1012805"/>
                  <a:pt x="3907982" y="1095769"/>
                </a:cubicBezTo>
                <a:cubicBezTo>
                  <a:pt x="3934125" y="1178733"/>
                  <a:pt x="3899721" y="1376694"/>
                  <a:pt x="3907982" y="1527556"/>
                </a:cubicBezTo>
                <a:cubicBezTo>
                  <a:pt x="3933279" y="1671291"/>
                  <a:pt x="3801987" y="1813220"/>
                  <a:pt x="3602464" y="1833074"/>
                </a:cubicBezTo>
                <a:cubicBezTo>
                  <a:pt x="3438587" y="1838912"/>
                  <a:pt x="3221395" y="1783938"/>
                  <a:pt x="3052973" y="1833074"/>
                </a:cubicBezTo>
                <a:cubicBezTo>
                  <a:pt x="2884551" y="1882210"/>
                  <a:pt x="2685129" y="1810297"/>
                  <a:pt x="2569421" y="1833074"/>
                </a:cubicBezTo>
                <a:cubicBezTo>
                  <a:pt x="2453713" y="1855851"/>
                  <a:pt x="2260058" y="1790275"/>
                  <a:pt x="2019930" y="1833074"/>
                </a:cubicBezTo>
                <a:cubicBezTo>
                  <a:pt x="1779802" y="1875873"/>
                  <a:pt x="1700005" y="1762651"/>
                  <a:pt x="1404500" y="1833074"/>
                </a:cubicBezTo>
                <a:cubicBezTo>
                  <a:pt x="1108995" y="1903497"/>
                  <a:pt x="1014025" y="1802264"/>
                  <a:pt x="855009" y="1833074"/>
                </a:cubicBezTo>
                <a:cubicBezTo>
                  <a:pt x="695993" y="1863884"/>
                  <a:pt x="498871" y="1783663"/>
                  <a:pt x="305518" y="1833074"/>
                </a:cubicBezTo>
                <a:cubicBezTo>
                  <a:pt x="98857" y="1834636"/>
                  <a:pt x="13740" y="1671520"/>
                  <a:pt x="0" y="1527556"/>
                </a:cubicBezTo>
                <a:cubicBezTo>
                  <a:pt x="-21170" y="1347005"/>
                  <a:pt x="13494" y="1243168"/>
                  <a:pt x="0" y="1107990"/>
                </a:cubicBezTo>
                <a:cubicBezTo>
                  <a:pt x="-13494" y="972812"/>
                  <a:pt x="10149" y="870873"/>
                  <a:pt x="0" y="725084"/>
                </a:cubicBezTo>
                <a:cubicBezTo>
                  <a:pt x="-10149" y="579295"/>
                  <a:pt x="42308" y="507439"/>
                  <a:pt x="0" y="305518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DF482F7-F404-DFE7-B637-FCB83793F8BD}"/>
              </a:ext>
            </a:extLst>
          </p:cNvPr>
          <p:cNvSpPr txBox="1"/>
          <p:nvPr/>
        </p:nvSpPr>
        <p:spPr>
          <a:xfrm>
            <a:off x="2977492" y="5388429"/>
            <a:ext cx="1417376" cy="369332"/>
          </a:xfrm>
          <a:custGeom>
            <a:avLst/>
            <a:gdLst>
              <a:gd name="connsiteX0" fmla="*/ 0 w 1417376"/>
              <a:gd name="connsiteY0" fmla="*/ 0 h 369332"/>
              <a:gd name="connsiteX1" fmla="*/ 458285 w 1417376"/>
              <a:gd name="connsiteY1" fmla="*/ 0 h 369332"/>
              <a:gd name="connsiteX2" fmla="*/ 888222 w 1417376"/>
              <a:gd name="connsiteY2" fmla="*/ 0 h 369332"/>
              <a:gd name="connsiteX3" fmla="*/ 1417376 w 1417376"/>
              <a:gd name="connsiteY3" fmla="*/ 0 h 369332"/>
              <a:gd name="connsiteX4" fmla="*/ 1417376 w 1417376"/>
              <a:gd name="connsiteY4" fmla="*/ 369332 h 369332"/>
              <a:gd name="connsiteX5" fmla="*/ 973265 w 1417376"/>
              <a:gd name="connsiteY5" fmla="*/ 369332 h 369332"/>
              <a:gd name="connsiteX6" fmla="*/ 472459 w 1417376"/>
              <a:gd name="connsiteY6" fmla="*/ 369332 h 369332"/>
              <a:gd name="connsiteX7" fmla="*/ 0 w 1417376"/>
              <a:gd name="connsiteY7" fmla="*/ 369332 h 369332"/>
              <a:gd name="connsiteX8" fmla="*/ 0 w 1417376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17376" h="369332" extrusionOk="0">
                <a:moveTo>
                  <a:pt x="0" y="0"/>
                </a:moveTo>
                <a:cubicBezTo>
                  <a:pt x="150315" y="-34839"/>
                  <a:pt x="359050" y="39766"/>
                  <a:pt x="458285" y="0"/>
                </a:cubicBezTo>
                <a:cubicBezTo>
                  <a:pt x="557521" y="-39766"/>
                  <a:pt x="717003" y="17681"/>
                  <a:pt x="888222" y="0"/>
                </a:cubicBezTo>
                <a:cubicBezTo>
                  <a:pt x="1059441" y="-17681"/>
                  <a:pt x="1227697" y="14188"/>
                  <a:pt x="1417376" y="0"/>
                </a:cubicBezTo>
                <a:cubicBezTo>
                  <a:pt x="1452964" y="113493"/>
                  <a:pt x="1390569" y="197069"/>
                  <a:pt x="1417376" y="369332"/>
                </a:cubicBezTo>
                <a:cubicBezTo>
                  <a:pt x="1226376" y="376749"/>
                  <a:pt x="1064169" y="317273"/>
                  <a:pt x="973265" y="369332"/>
                </a:cubicBezTo>
                <a:cubicBezTo>
                  <a:pt x="882361" y="421391"/>
                  <a:pt x="672283" y="360538"/>
                  <a:pt x="472459" y="369332"/>
                </a:cubicBezTo>
                <a:cubicBezTo>
                  <a:pt x="272635" y="378126"/>
                  <a:pt x="235277" y="321369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Pipelines/API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A3C9098-CF9B-E8E3-71FE-866D524E7537}"/>
              </a:ext>
            </a:extLst>
          </p:cNvPr>
          <p:cNvSpPr txBox="1"/>
          <p:nvPr/>
        </p:nvSpPr>
        <p:spPr>
          <a:xfrm>
            <a:off x="653484" y="4570283"/>
            <a:ext cx="231585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dirty="0"/>
              <a:t>For platform, </a:t>
            </a:r>
            <a:r>
              <a:rPr lang="en-US" dirty="0" err="1"/>
              <a:t>prd</a:t>
            </a:r>
            <a:r>
              <a:rPr lang="en-US" dirty="0"/>
              <a:t>, and stg environments</a:t>
            </a:r>
          </a:p>
          <a:p>
            <a:pPr marL="285750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endParaRPr lang="en-US" dirty="0"/>
          </a:p>
        </p:txBody>
      </p:sp>
      <p:sp>
        <p:nvSpPr>
          <p:cNvPr id="44" name="Arrow: Right 43">
            <a:extLst>
              <a:ext uri="{FF2B5EF4-FFF2-40B4-BE49-F238E27FC236}">
                <a16:creationId xmlns:a16="http://schemas.microsoft.com/office/drawing/2014/main" id="{F9B71AEC-FD4A-C5B5-0F84-BD1F558E2D7B}"/>
              </a:ext>
            </a:extLst>
          </p:cNvPr>
          <p:cNvSpPr/>
          <p:nvPr/>
        </p:nvSpPr>
        <p:spPr>
          <a:xfrm rot="2001823" flipV="1">
            <a:off x="4516009" y="4265745"/>
            <a:ext cx="1092674" cy="299469"/>
          </a:xfrm>
          <a:custGeom>
            <a:avLst/>
            <a:gdLst>
              <a:gd name="connsiteX0" fmla="*/ 0 w 1092674"/>
              <a:gd name="connsiteY0" fmla="*/ 74867 h 299469"/>
              <a:gd name="connsiteX1" fmla="*/ 480899 w 1092674"/>
              <a:gd name="connsiteY1" fmla="*/ 74867 h 299469"/>
              <a:gd name="connsiteX2" fmla="*/ 942940 w 1092674"/>
              <a:gd name="connsiteY2" fmla="*/ 74867 h 299469"/>
              <a:gd name="connsiteX3" fmla="*/ 942940 w 1092674"/>
              <a:gd name="connsiteY3" fmla="*/ 0 h 299469"/>
              <a:gd name="connsiteX4" fmla="*/ 1092674 w 1092674"/>
              <a:gd name="connsiteY4" fmla="*/ 149735 h 299469"/>
              <a:gd name="connsiteX5" fmla="*/ 942940 w 1092674"/>
              <a:gd name="connsiteY5" fmla="*/ 299469 h 299469"/>
              <a:gd name="connsiteX6" fmla="*/ 942940 w 1092674"/>
              <a:gd name="connsiteY6" fmla="*/ 224602 h 299469"/>
              <a:gd name="connsiteX7" fmla="*/ 471470 w 1092674"/>
              <a:gd name="connsiteY7" fmla="*/ 224602 h 299469"/>
              <a:gd name="connsiteX8" fmla="*/ 0 w 1092674"/>
              <a:gd name="connsiteY8" fmla="*/ 224602 h 299469"/>
              <a:gd name="connsiteX9" fmla="*/ 0 w 1092674"/>
              <a:gd name="connsiteY9" fmla="*/ 74867 h 299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92674" h="299469" fill="none" extrusionOk="0">
                <a:moveTo>
                  <a:pt x="0" y="74867"/>
                </a:moveTo>
                <a:cubicBezTo>
                  <a:pt x="216265" y="59847"/>
                  <a:pt x="322152" y="70174"/>
                  <a:pt x="480899" y="74867"/>
                </a:cubicBezTo>
                <a:cubicBezTo>
                  <a:pt x="639646" y="79560"/>
                  <a:pt x="815220" y="93676"/>
                  <a:pt x="942940" y="74867"/>
                </a:cubicBezTo>
                <a:cubicBezTo>
                  <a:pt x="939933" y="43903"/>
                  <a:pt x="940998" y="18180"/>
                  <a:pt x="942940" y="0"/>
                </a:cubicBezTo>
                <a:cubicBezTo>
                  <a:pt x="991485" y="42430"/>
                  <a:pt x="1018307" y="89626"/>
                  <a:pt x="1092674" y="149735"/>
                </a:cubicBezTo>
                <a:cubicBezTo>
                  <a:pt x="1034273" y="221326"/>
                  <a:pt x="1022141" y="233324"/>
                  <a:pt x="942940" y="299469"/>
                </a:cubicBezTo>
                <a:cubicBezTo>
                  <a:pt x="939895" y="264632"/>
                  <a:pt x="941389" y="257076"/>
                  <a:pt x="942940" y="224602"/>
                </a:cubicBezTo>
                <a:cubicBezTo>
                  <a:pt x="770704" y="233480"/>
                  <a:pt x="630420" y="206377"/>
                  <a:pt x="471470" y="224602"/>
                </a:cubicBezTo>
                <a:cubicBezTo>
                  <a:pt x="312520" y="242828"/>
                  <a:pt x="100606" y="216316"/>
                  <a:pt x="0" y="224602"/>
                </a:cubicBezTo>
                <a:cubicBezTo>
                  <a:pt x="2679" y="160280"/>
                  <a:pt x="-5251" y="117299"/>
                  <a:pt x="0" y="74867"/>
                </a:cubicBezTo>
                <a:close/>
              </a:path>
              <a:path w="1092674" h="299469" stroke="0" extrusionOk="0">
                <a:moveTo>
                  <a:pt x="0" y="74867"/>
                </a:moveTo>
                <a:cubicBezTo>
                  <a:pt x="182740" y="66323"/>
                  <a:pt x="266755" y="70824"/>
                  <a:pt x="462041" y="74867"/>
                </a:cubicBezTo>
                <a:cubicBezTo>
                  <a:pt x="657327" y="78910"/>
                  <a:pt x="776283" y="91304"/>
                  <a:pt x="942940" y="74867"/>
                </a:cubicBezTo>
                <a:cubicBezTo>
                  <a:pt x="943202" y="45997"/>
                  <a:pt x="942659" y="23814"/>
                  <a:pt x="942940" y="0"/>
                </a:cubicBezTo>
                <a:cubicBezTo>
                  <a:pt x="1001946" y="61146"/>
                  <a:pt x="1027275" y="94736"/>
                  <a:pt x="1092674" y="149735"/>
                </a:cubicBezTo>
                <a:cubicBezTo>
                  <a:pt x="1066059" y="190945"/>
                  <a:pt x="998770" y="250841"/>
                  <a:pt x="942940" y="299469"/>
                </a:cubicBezTo>
                <a:cubicBezTo>
                  <a:pt x="941148" y="275136"/>
                  <a:pt x="944278" y="253873"/>
                  <a:pt x="942940" y="224602"/>
                </a:cubicBezTo>
                <a:cubicBezTo>
                  <a:pt x="818727" y="229173"/>
                  <a:pt x="597068" y="240046"/>
                  <a:pt x="490329" y="224602"/>
                </a:cubicBezTo>
                <a:cubicBezTo>
                  <a:pt x="383590" y="209158"/>
                  <a:pt x="166327" y="217763"/>
                  <a:pt x="0" y="224602"/>
                </a:cubicBezTo>
                <a:cubicBezTo>
                  <a:pt x="-5217" y="188683"/>
                  <a:pt x="-3688" y="113779"/>
                  <a:pt x="0" y="74867"/>
                </a:cubicBezTo>
                <a:close/>
              </a:path>
            </a:pathLst>
          </a:custGeom>
          <a:solidFill>
            <a:srgbClr val="0070C0"/>
          </a:solidFill>
          <a:ln w="25400">
            <a:solidFill>
              <a:srgbClr val="2C7CC4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5" name="Arrow: Right 44">
            <a:extLst>
              <a:ext uri="{FF2B5EF4-FFF2-40B4-BE49-F238E27FC236}">
                <a16:creationId xmlns:a16="http://schemas.microsoft.com/office/drawing/2014/main" id="{A5DA7973-71C2-F666-C2C9-AF04021A2428}"/>
              </a:ext>
            </a:extLst>
          </p:cNvPr>
          <p:cNvSpPr/>
          <p:nvPr/>
        </p:nvSpPr>
        <p:spPr>
          <a:xfrm rot="20591741" flipV="1">
            <a:off x="4557014" y="5211065"/>
            <a:ext cx="954100" cy="322160"/>
          </a:xfrm>
          <a:custGeom>
            <a:avLst/>
            <a:gdLst>
              <a:gd name="connsiteX0" fmla="*/ 0 w 954100"/>
              <a:gd name="connsiteY0" fmla="*/ 80540 h 322160"/>
              <a:gd name="connsiteX1" fmla="*/ 404440 w 954100"/>
              <a:gd name="connsiteY1" fmla="*/ 80540 h 322160"/>
              <a:gd name="connsiteX2" fmla="*/ 793020 w 954100"/>
              <a:gd name="connsiteY2" fmla="*/ 80540 h 322160"/>
              <a:gd name="connsiteX3" fmla="*/ 793020 w 954100"/>
              <a:gd name="connsiteY3" fmla="*/ 0 h 322160"/>
              <a:gd name="connsiteX4" fmla="*/ 954100 w 954100"/>
              <a:gd name="connsiteY4" fmla="*/ 161080 h 322160"/>
              <a:gd name="connsiteX5" fmla="*/ 793020 w 954100"/>
              <a:gd name="connsiteY5" fmla="*/ 322160 h 322160"/>
              <a:gd name="connsiteX6" fmla="*/ 793020 w 954100"/>
              <a:gd name="connsiteY6" fmla="*/ 241620 h 322160"/>
              <a:gd name="connsiteX7" fmla="*/ 396510 w 954100"/>
              <a:gd name="connsiteY7" fmla="*/ 241620 h 322160"/>
              <a:gd name="connsiteX8" fmla="*/ 0 w 954100"/>
              <a:gd name="connsiteY8" fmla="*/ 241620 h 322160"/>
              <a:gd name="connsiteX9" fmla="*/ 0 w 954100"/>
              <a:gd name="connsiteY9" fmla="*/ 80540 h 322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54100" h="322160" fill="none" extrusionOk="0">
                <a:moveTo>
                  <a:pt x="0" y="80540"/>
                </a:moveTo>
                <a:cubicBezTo>
                  <a:pt x="111190" y="61619"/>
                  <a:pt x="223998" y="65817"/>
                  <a:pt x="404440" y="80540"/>
                </a:cubicBezTo>
                <a:cubicBezTo>
                  <a:pt x="584882" y="95263"/>
                  <a:pt x="655376" y="82000"/>
                  <a:pt x="793020" y="80540"/>
                </a:cubicBezTo>
                <a:cubicBezTo>
                  <a:pt x="791208" y="41859"/>
                  <a:pt x="792478" y="25389"/>
                  <a:pt x="793020" y="0"/>
                </a:cubicBezTo>
                <a:cubicBezTo>
                  <a:pt x="848302" y="63832"/>
                  <a:pt x="882892" y="91780"/>
                  <a:pt x="954100" y="161080"/>
                </a:cubicBezTo>
                <a:cubicBezTo>
                  <a:pt x="882102" y="244510"/>
                  <a:pt x="850829" y="269029"/>
                  <a:pt x="793020" y="322160"/>
                </a:cubicBezTo>
                <a:cubicBezTo>
                  <a:pt x="789506" y="305656"/>
                  <a:pt x="792171" y="279114"/>
                  <a:pt x="793020" y="241620"/>
                </a:cubicBezTo>
                <a:cubicBezTo>
                  <a:pt x="663766" y="234384"/>
                  <a:pt x="560864" y="249679"/>
                  <a:pt x="396510" y="241620"/>
                </a:cubicBezTo>
                <a:cubicBezTo>
                  <a:pt x="232156" y="233562"/>
                  <a:pt x="190076" y="241141"/>
                  <a:pt x="0" y="241620"/>
                </a:cubicBezTo>
                <a:cubicBezTo>
                  <a:pt x="-7055" y="201858"/>
                  <a:pt x="170" y="155846"/>
                  <a:pt x="0" y="80540"/>
                </a:cubicBezTo>
                <a:close/>
              </a:path>
              <a:path w="954100" h="322160" stroke="0" extrusionOk="0">
                <a:moveTo>
                  <a:pt x="0" y="80540"/>
                </a:moveTo>
                <a:cubicBezTo>
                  <a:pt x="124136" y="72534"/>
                  <a:pt x="246152" y="71220"/>
                  <a:pt x="388580" y="80540"/>
                </a:cubicBezTo>
                <a:cubicBezTo>
                  <a:pt x="531008" y="89860"/>
                  <a:pt x="689803" y="62191"/>
                  <a:pt x="793020" y="80540"/>
                </a:cubicBezTo>
                <a:cubicBezTo>
                  <a:pt x="795118" y="50919"/>
                  <a:pt x="790116" y="22682"/>
                  <a:pt x="793020" y="0"/>
                </a:cubicBezTo>
                <a:cubicBezTo>
                  <a:pt x="829128" y="29365"/>
                  <a:pt x="879448" y="79833"/>
                  <a:pt x="954100" y="161080"/>
                </a:cubicBezTo>
                <a:cubicBezTo>
                  <a:pt x="905501" y="194212"/>
                  <a:pt x="852081" y="262764"/>
                  <a:pt x="793020" y="322160"/>
                </a:cubicBezTo>
                <a:cubicBezTo>
                  <a:pt x="793312" y="298709"/>
                  <a:pt x="794178" y="265249"/>
                  <a:pt x="793020" y="241620"/>
                </a:cubicBezTo>
                <a:cubicBezTo>
                  <a:pt x="675043" y="248733"/>
                  <a:pt x="521610" y="229361"/>
                  <a:pt x="412370" y="241620"/>
                </a:cubicBezTo>
                <a:cubicBezTo>
                  <a:pt x="303130" y="253880"/>
                  <a:pt x="136692" y="229047"/>
                  <a:pt x="0" y="241620"/>
                </a:cubicBezTo>
                <a:cubicBezTo>
                  <a:pt x="6760" y="191250"/>
                  <a:pt x="-5116" y="118181"/>
                  <a:pt x="0" y="80540"/>
                </a:cubicBezTo>
                <a:close/>
              </a:path>
            </a:pathLst>
          </a:custGeom>
          <a:solidFill>
            <a:schemeClr val="tx1"/>
          </a:solidFill>
          <a:ln w="25400">
            <a:solidFill>
              <a:schemeClr val="tx1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6" name="Arrow: Right 45">
            <a:extLst>
              <a:ext uri="{FF2B5EF4-FFF2-40B4-BE49-F238E27FC236}">
                <a16:creationId xmlns:a16="http://schemas.microsoft.com/office/drawing/2014/main" id="{FEC3E27B-2463-93F4-1768-261453C1B051}"/>
              </a:ext>
            </a:extLst>
          </p:cNvPr>
          <p:cNvSpPr/>
          <p:nvPr/>
        </p:nvSpPr>
        <p:spPr>
          <a:xfrm rot="908097" flipV="1">
            <a:off x="7769112" y="5319975"/>
            <a:ext cx="706280" cy="256533"/>
          </a:xfrm>
          <a:custGeom>
            <a:avLst/>
            <a:gdLst>
              <a:gd name="connsiteX0" fmla="*/ 0 w 706280"/>
              <a:gd name="connsiteY0" fmla="*/ 64133 h 256533"/>
              <a:gd name="connsiteX1" fmla="*/ 578014 w 706280"/>
              <a:gd name="connsiteY1" fmla="*/ 64133 h 256533"/>
              <a:gd name="connsiteX2" fmla="*/ 578014 w 706280"/>
              <a:gd name="connsiteY2" fmla="*/ 0 h 256533"/>
              <a:gd name="connsiteX3" fmla="*/ 706280 w 706280"/>
              <a:gd name="connsiteY3" fmla="*/ 128267 h 256533"/>
              <a:gd name="connsiteX4" fmla="*/ 578014 w 706280"/>
              <a:gd name="connsiteY4" fmla="*/ 256533 h 256533"/>
              <a:gd name="connsiteX5" fmla="*/ 578014 w 706280"/>
              <a:gd name="connsiteY5" fmla="*/ 192400 h 256533"/>
              <a:gd name="connsiteX6" fmla="*/ 0 w 706280"/>
              <a:gd name="connsiteY6" fmla="*/ 192400 h 256533"/>
              <a:gd name="connsiteX7" fmla="*/ 0 w 706280"/>
              <a:gd name="connsiteY7" fmla="*/ 64133 h 2565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6280" h="256533" fill="none" extrusionOk="0">
                <a:moveTo>
                  <a:pt x="0" y="64133"/>
                </a:moveTo>
                <a:cubicBezTo>
                  <a:pt x="119703" y="36933"/>
                  <a:pt x="438341" y="41747"/>
                  <a:pt x="578014" y="64133"/>
                </a:cubicBezTo>
                <a:cubicBezTo>
                  <a:pt x="580928" y="46695"/>
                  <a:pt x="578944" y="24063"/>
                  <a:pt x="578014" y="0"/>
                </a:cubicBezTo>
                <a:cubicBezTo>
                  <a:pt x="629791" y="46744"/>
                  <a:pt x="646733" y="70085"/>
                  <a:pt x="706280" y="128267"/>
                </a:cubicBezTo>
                <a:cubicBezTo>
                  <a:pt x="658026" y="168319"/>
                  <a:pt x="630765" y="212715"/>
                  <a:pt x="578014" y="256533"/>
                </a:cubicBezTo>
                <a:cubicBezTo>
                  <a:pt x="581017" y="227742"/>
                  <a:pt x="579972" y="205413"/>
                  <a:pt x="578014" y="192400"/>
                </a:cubicBezTo>
                <a:cubicBezTo>
                  <a:pt x="401428" y="209641"/>
                  <a:pt x="232629" y="168467"/>
                  <a:pt x="0" y="192400"/>
                </a:cubicBezTo>
                <a:cubicBezTo>
                  <a:pt x="-1038" y="146386"/>
                  <a:pt x="-4173" y="125670"/>
                  <a:pt x="0" y="64133"/>
                </a:cubicBezTo>
                <a:close/>
              </a:path>
              <a:path w="706280" h="256533" stroke="0" extrusionOk="0">
                <a:moveTo>
                  <a:pt x="0" y="64133"/>
                </a:moveTo>
                <a:cubicBezTo>
                  <a:pt x="213834" y="55600"/>
                  <a:pt x="417693" y="67746"/>
                  <a:pt x="578014" y="64133"/>
                </a:cubicBezTo>
                <a:cubicBezTo>
                  <a:pt x="574814" y="46165"/>
                  <a:pt x="576590" y="13763"/>
                  <a:pt x="578014" y="0"/>
                </a:cubicBezTo>
                <a:cubicBezTo>
                  <a:pt x="640166" y="55615"/>
                  <a:pt x="660590" y="78952"/>
                  <a:pt x="706280" y="128267"/>
                </a:cubicBezTo>
                <a:cubicBezTo>
                  <a:pt x="654356" y="176033"/>
                  <a:pt x="637501" y="191565"/>
                  <a:pt x="578014" y="256533"/>
                </a:cubicBezTo>
                <a:cubicBezTo>
                  <a:pt x="577990" y="241963"/>
                  <a:pt x="579615" y="207033"/>
                  <a:pt x="578014" y="192400"/>
                </a:cubicBezTo>
                <a:cubicBezTo>
                  <a:pt x="330043" y="177818"/>
                  <a:pt x="125278" y="199023"/>
                  <a:pt x="0" y="192400"/>
                </a:cubicBezTo>
                <a:cubicBezTo>
                  <a:pt x="3676" y="156556"/>
                  <a:pt x="-2090" y="104521"/>
                  <a:pt x="0" y="64133"/>
                </a:cubicBezTo>
                <a:close/>
              </a:path>
            </a:pathLst>
          </a:custGeom>
          <a:solidFill>
            <a:srgbClr val="0070C0"/>
          </a:solidFill>
          <a:ln w="25400">
            <a:solidFill>
              <a:srgbClr val="0070C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00FDE197-9BBA-4949-EAA3-67CC5AEF7914}"/>
              </a:ext>
            </a:extLst>
          </p:cNvPr>
          <p:cNvSpPr/>
          <p:nvPr/>
        </p:nvSpPr>
        <p:spPr>
          <a:xfrm rot="20782950" flipV="1">
            <a:off x="7758716" y="4520037"/>
            <a:ext cx="954100" cy="322160"/>
          </a:xfrm>
          <a:custGeom>
            <a:avLst/>
            <a:gdLst>
              <a:gd name="connsiteX0" fmla="*/ 0 w 954100"/>
              <a:gd name="connsiteY0" fmla="*/ 80540 h 322160"/>
              <a:gd name="connsiteX1" fmla="*/ 404440 w 954100"/>
              <a:gd name="connsiteY1" fmla="*/ 80540 h 322160"/>
              <a:gd name="connsiteX2" fmla="*/ 793020 w 954100"/>
              <a:gd name="connsiteY2" fmla="*/ 80540 h 322160"/>
              <a:gd name="connsiteX3" fmla="*/ 793020 w 954100"/>
              <a:gd name="connsiteY3" fmla="*/ 0 h 322160"/>
              <a:gd name="connsiteX4" fmla="*/ 954100 w 954100"/>
              <a:gd name="connsiteY4" fmla="*/ 161080 h 322160"/>
              <a:gd name="connsiteX5" fmla="*/ 793020 w 954100"/>
              <a:gd name="connsiteY5" fmla="*/ 322160 h 322160"/>
              <a:gd name="connsiteX6" fmla="*/ 793020 w 954100"/>
              <a:gd name="connsiteY6" fmla="*/ 241620 h 322160"/>
              <a:gd name="connsiteX7" fmla="*/ 396510 w 954100"/>
              <a:gd name="connsiteY7" fmla="*/ 241620 h 322160"/>
              <a:gd name="connsiteX8" fmla="*/ 0 w 954100"/>
              <a:gd name="connsiteY8" fmla="*/ 241620 h 322160"/>
              <a:gd name="connsiteX9" fmla="*/ 0 w 954100"/>
              <a:gd name="connsiteY9" fmla="*/ 80540 h 322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54100" h="322160" fill="none" extrusionOk="0">
                <a:moveTo>
                  <a:pt x="0" y="80540"/>
                </a:moveTo>
                <a:cubicBezTo>
                  <a:pt x="111190" y="61619"/>
                  <a:pt x="223998" y="65817"/>
                  <a:pt x="404440" y="80540"/>
                </a:cubicBezTo>
                <a:cubicBezTo>
                  <a:pt x="584882" y="95263"/>
                  <a:pt x="655376" y="82000"/>
                  <a:pt x="793020" y="80540"/>
                </a:cubicBezTo>
                <a:cubicBezTo>
                  <a:pt x="791208" y="41859"/>
                  <a:pt x="792478" y="25389"/>
                  <a:pt x="793020" y="0"/>
                </a:cubicBezTo>
                <a:cubicBezTo>
                  <a:pt x="848302" y="63832"/>
                  <a:pt x="882892" y="91780"/>
                  <a:pt x="954100" y="161080"/>
                </a:cubicBezTo>
                <a:cubicBezTo>
                  <a:pt x="882102" y="244510"/>
                  <a:pt x="850829" y="269029"/>
                  <a:pt x="793020" y="322160"/>
                </a:cubicBezTo>
                <a:cubicBezTo>
                  <a:pt x="789506" y="305656"/>
                  <a:pt x="792171" y="279114"/>
                  <a:pt x="793020" y="241620"/>
                </a:cubicBezTo>
                <a:cubicBezTo>
                  <a:pt x="663766" y="234384"/>
                  <a:pt x="560864" y="249679"/>
                  <a:pt x="396510" y="241620"/>
                </a:cubicBezTo>
                <a:cubicBezTo>
                  <a:pt x="232156" y="233562"/>
                  <a:pt x="190076" y="241141"/>
                  <a:pt x="0" y="241620"/>
                </a:cubicBezTo>
                <a:cubicBezTo>
                  <a:pt x="-7055" y="201858"/>
                  <a:pt x="170" y="155846"/>
                  <a:pt x="0" y="80540"/>
                </a:cubicBezTo>
                <a:close/>
              </a:path>
              <a:path w="954100" h="322160" stroke="0" extrusionOk="0">
                <a:moveTo>
                  <a:pt x="0" y="80540"/>
                </a:moveTo>
                <a:cubicBezTo>
                  <a:pt x="124136" y="72534"/>
                  <a:pt x="246152" y="71220"/>
                  <a:pt x="388580" y="80540"/>
                </a:cubicBezTo>
                <a:cubicBezTo>
                  <a:pt x="531008" y="89860"/>
                  <a:pt x="689803" y="62191"/>
                  <a:pt x="793020" y="80540"/>
                </a:cubicBezTo>
                <a:cubicBezTo>
                  <a:pt x="795118" y="50919"/>
                  <a:pt x="790116" y="22682"/>
                  <a:pt x="793020" y="0"/>
                </a:cubicBezTo>
                <a:cubicBezTo>
                  <a:pt x="829128" y="29365"/>
                  <a:pt x="879448" y="79833"/>
                  <a:pt x="954100" y="161080"/>
                </a:cubicBezTo>
                <a:cubicBezTo>
                  <a:pt x="905501" y="194212"/>
                  <a:pt x="852081" y="262764"/>
                  <a:pt x="793020" y="322160"/>
                </a:cubicBezTo>
                <a:cubicBezTo>
                  <a:pt x="793312" y="298709"/>
                  <a:pt x="794178" y="265249"/>
                  <a:pt x="793020" y="241620"/>
                </a:cubicBezTo>
                <a:cubicBezTo>
                  <a:pt x="675043" y="248733"/>
                  <a:pt x="521610" y="229361"/>
                  <a:pt x="412370" y="241620"/>
                </a:cubicBezTo>
                <a:cubicBezTo>
                  <a:pt x="303130" y="253880"/>
                  <a:pt x="136692" y="229047"/>
                  <a:pt x="0" y="241620"/>
                </a:cubicBezTo>
                <a:cubicBezTo>
                  <a:pt x="6760" y="191250"/>
                  <a:pt x="-5116" y="118181"/>
                  <a:pt x="0" y="80540"/>
                </a:cubicBezTo>
                <a:close/>
              </a:path>
            </a:pathLst>
          </a:custGeom>
          <a:solidFill>
            <a:schemeClr val="tx1"/>
          </a:solidFill>
          <a:ln w="25400">
            <a:solidFill>
              <a:schemeClr val="tx1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943476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ángulo 6175">
            <a:extLst>
              <a:ext uri="{FF2B5EF4-FFF2-40B4-BE49-F238E27FC236}">
                <a16:creationId xmlns:a16="http://schemas.microsoft.com/office/drawing/2014/main" id="{8BB652F3-E70C-41B2-B1D6-C632507D4D77}"/>
              </a:ext>
            </a:extLst>
          </p:cNvPr>
          <p:cNvSpPr/>
          <p:nvPr/>
        </p:nvSpPr>
        <p:spPr>
          <a:xfrm>
            <a:off x="0" y="-17273"/>
            <a:ext cx="12214702" cy="3442643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white machine made of legos&#10;&#10;Description automatically generated">
            <a:extLst>
              <a:ext uri="{FF2B5EF4-FFF2-40B4-BE49-F238E27FC236}">
                <a16:creationId xmlns:a16="http://schemas.microsoft.com/office/drawing/2014/main" id="{015C3AFA-190E-0DCE-C174-6195E6DEE98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971"/>
            <a:ext cx="12192000" cy="6858000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9E073D2-D02C-4602-90E7-2FBE431ADC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9E073D2-D02C-4602-90E7-2FBE431ADC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redondeado 14">
            <a:extLst>
              <a:ext uri="{FF2B5EF4-FFF2-40B4-BE49-F238E27FC236}">
                <a16:creationId xmlns:a16="http://schemas.microsoft.com/office/drawing/2014/main" id="{C7143A2C-3F85-47CD-9E2B-97A348E51562}"/>
              </a:ext>
            </a:extLst>
          </p:cNvPr>
          <p:cNvSpPr/>
          <p:nvPr/>
        </p:nvSpPr>
        <p:spPr>
          <a:xfrm>
            <a:off x="862078" y="469489"/>
            <a:ext cx="10523889" cy="5395636"/>
          </a:xfrm>
          <a:prstGeom prst="roundRect">
            <a:avLst>
              <a:gd name="adj" fmla="val 2826"/>
            </a:avLst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ángulo redondeado 14">
            <a:extLst>
              <a:ext uri="{FF2B5EF4-FFF2-40B4-BE49-F238E27FC236}">
                <a16:creationId xmlns:a16="http://schemas.microsoft.com/office/drawing/2014/main" id="{69FEE036-62FB-4E7F-8B1D-B1654A4735D8}"/>
              </a:ext>
            </a:extLst>
          </p:cNvPr>
          <p:cNvSpPr/>
          <p:nvPr/>
        </p:nvSpPr>
        <p:spPr>
          <a:xfrm>
            <a:off x="6460791" y="792843"/>
            <a:ext cx="4572268" cy="4385889"/>
          </a:xfrm>
          <a:prstGeom prst="roundRect">
            <a:avLst>
              <a:gd name="adj" fmla="val 2826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56144E1-FF2D-4715-8657-21CDEE3ECD1E}"/>
              </a:ext>
            </a:extLst>
          </p:cNvPr>
          <p:cNvCxnSpPr>
            <a:cxnSpLocks/>
          </p:cNvCxnSpPr>
          <p:nvPr/>
        </p:nvCxnSpPr>
        <p:spPr>
          <a:xfrm>
            <a:off x="6487094" y="2187087"/>
            <a:ext cx="43434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ángulo redondeado 14">
            <a:extLst>
              <a:ext uri="{FF2B5EF4-FFF2-40B4-BE49-F238E27FC236}">
                <a16:creationId xmlns:a16="http://schemas.microsoft.com/office/drawing/2014/main" id="{9565BB47-835A-4FD4-B946-9DD07A6DBC9E}"/>
              </a:ext>
            </a:extLst>
          </p:cNvPr>
          <p:cNvSpPr/>
          <p:nvPr/>
        </p:nvSpPr>
        <p:spPr>
          <a:xfrm>
            <a:off x="6016819" y="4935544"/>
            <a:ext cx="5919542" cy="1760223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ángulo 12">
            <a:extLst>
              <a:ext uri="{FF2B5EF4-FFF2-40B4-BE49-F238E27FC236}">
                <a16:creationId xmlns:a16="http://schemas.microsoft.com/office/drawing/2014/main" id="{77DA9832-58B0-4DB8-8B68-08B4705894D6}"/>
              </a:ext>
            </a:extLst>
          </p:cNvPr>
          <p:cNvSpPr/>
          <p:nvPr/>
        </p:nvSpPr>
        <p:spPr>
          <a:xfrm>
            <a:off x="6940568" y="2187087"/>
            <a:ext cx="3723417" cy="2554545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pPr algn="ctr"/>
            <a:r>
              <a:rPr lang="en-US" sz="8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ource Sans Pro Semibold" panose="020B0603030403020204" pitchFamily="34" charset="0"/>
                <a:cs typeface="Segoe UI" panose="020B0502040204020203" pitchFamily="34" charset="0"/>
              </a:rPr>
              <a:t>THANK</a:t>
            </a:r>
            <a:endParaRPr lang="en-US" sz="7200" b="1" dirty="0">
              <a:solidFill>
                <a:schemeClr val="tx1">
                  <a:lumMod val="95000"/>
                  <a:lumOff val="5000"/>
                </a:schemeClr>
              </a:solidFill>
              <a:latin typeface="Segoe UI" panose="020B0502040204020203" pitchFamily="34" charset="0"/>
              <a:ea typeface="Source Sans Pro Semibold" panose="020B0603030403020204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8000" b="1" dirty="0">
                <a:solidFill>
                  <a:srgbClr val="D01012"/>
                </a:solidFill>
                <a:latin typeface="Segoe UI" panose="020B0502040204020203" pitchFamily="34" charset="0"/>
                <a:ea typeface="Source Sans Pro Semibold" panose="020B0603030403020204" pitchFamily="34" charset="0"/>
                <a:cs typeface="Segoe UI" panose="020B0502040204020203" pitchFamily="34" charset="0"/>
              </a:rPr>
              <a:t>YOU! </a:t>
            </a:r>
            <a:endParaRPr lang="en-US" sz="8000" b="1" dirty="0">
              <a:solidFill>
                <a:srgbClr val="D01012"/>
              </a:solidFill>
              <a:latin typeface="Segoe UI" panose="020B0502040204020203" pitchFamily="34" charset="0"/>
              <a:ea typeface="Source Sans Pro Black" panose="020B0803030403020204" pitchFamily="34" charset="0"/>
              <a:cs typeface="Segoe UI" panose="020B0502040204020203" pitchFamily="34" charset="0"/>
            </a:endParaRPr>
          </a:p>
        </p:txBody>
      </p:sp>
      <p:pic>
        <p:nvPicPr>
          <p:cNvPr id="7170" name="Picture 2" descr="Unsere Partner | sensatus GmbH">
            <a:extLst>
              <a:ext uri="{FF2B5EF4-FFF2-40B4-BE49-F238E27FC236}">
                <a16:creationId xmlns:a16="http://schemas.microsoft.com/office/drawing/2014/main" id="{3F767317-20A8-8296-699C-0DA70107B2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3131" y="674901"/>
            <a:ext cx="3819898" cy="1994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8" descr="A group of colorful squares&#10;&#10;Description automatically generated">
            <a:extLst>
              <a:ext uri="{FF2B5EF4-FFF2-40B4-BE49-F238E27FC236}">
                <a16:creationId xmlns:a16="http://schemas.microsoft.com/office/drawing/2014/main" id="{41F330A1-262B-4171-30E6-559F660A3C1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6045" y="1235989"/>
            <a:ext cx="591736" cy="591736"/>
          </a:xfrm>
          <a:prstGeom prst="rect">
            <a:avLst/>
          </a:prstGeom>
        </p:spPr>
      </p:pic>
      <p:sp>
        <p:nvSpPr>
          <p:cNvPr id="34" name="Rectángulo 12">
            <a:extLst>
              <a:ext uri="{FF2B5EF4-FFF2-40B4-BE49-F238E27FC236}">
                <a16:creationId xmlns:a16="http://schemas.microsoft.com/office/drawing/2014/main" id="{0D3B918B-34A0-D351-D0FC-C18F18F619F2}"/>
              </a:ext>
            </a:extLst>
          </p:cNvPr>
          <p:cNvSpPr/>
          <p:nvPr/>
        </p:nvSpPr>
        <p:spPr>
          <a:xfrm>
            <a:off x="6887988" y="1074467"/>
            <a:ext cx="4338014" cy="830997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pPr algn="ctr"/>
            <a:r>
              <a:rPr lang="en-US" sz="4800" b="1" dirty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ea typeface="Source Sans Pro Semibold" panose="020B0603030403020204" pitchFamily="34" charset="0"/>
                <a:cs typeface="Segoe UI" panose="020B0502040204020203" pitchFamily="34" charset="0"/>
              </a:rPr>
              <a:t>Sponsors </a:t>
            </a:r>
            <a:endParaRPr lang="en-US" sz="4800" b="1" dirty="0">
              <a:solidFill>
                <a:schemeClr val="bg1">
                  <a:lumMod val="65000"/>
                </a:schemeClr>
              </a:solidFill>
              <a:latin typeface="Segoe UI" panose="020B0502040204020203" pitchFamily="34" charset="0"/>
              <a:ea typeface="Source Sans Pro Black" panose="020B0803030403020204" pitchFamily="34" charset="0"/>
              <a:cs typeface="Segoe UI" panose="020B0502040204020203" pitchFamily="34" charset="0"/>
            </a:endParaRPr>
          </a:p>
        </p:txBody>
      </p:sp>
      <p:sp>
        <p:nvSpPr>
          <p:cNvPr id="4" name="Rectángulo redondeado 14">
            <a:extLst>
              <a:ext uri="{FF2B5EF4-FFF2-40B4-BE49-F238E27FC236}">
                <a16:creationId xmlns:a16="http://schemas.microsoft.com/office/drawing/2014/main" id="{BCAE964C-8DC6-45B7-51CB-BB702A95891F}"/>
              </a:ext>
            </a:extLst>
          </p:cNvPr>
          <p:cNvSpPr/>
          <p:nvPr/>
        </p:nvSpPr>
        <p:spPr>
          <a:xfrm>
            <a:off x="6175182" y="5046302"/>
            <a:ext cx="5592534" cy="1503143"/>
          </a:xfrm>
          <a:prstGeom prst="roundRect">
            <a:avLst>
              <a:gd name="adj" fmla="val 50000"/>
            </a:avLst>
          </a:prstGeom>
          <a:solidFill>
            <a:srgbClr val="E412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673E9516-2ADD-9E26-06F4-93ECCF203030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854" t="27574" r="8854" b="36443"/>
          <a:stretch/>
        </p:blipFill>
        <p:spPr>
          <a:xfrm>
            <a:off x="6175182" y="5039844"/>
            <a:ext cx="5069888" cy="149049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CA06282-06C3-74D6-F3B3-75DF59347A5F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r="68084"/>
          <a:stretch/>
        </p:blipFill>
        <p:spPr>
          <a:xfrm>
            <a:off x="1868478" y="5046471"/>
            <a:ext cx="739172" cy="57642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85AF7C9-BF10-8C53-7008-3C7A83FBD0D7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32610"/>
          <a:stretch/>
        </p:blipFill>
        <p:spPr>
          <a:xfrm>
            <a:off x="2787875" y="4860983"/>
            <a:ext cx="2657652" cy="98154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80497A61-4D2D-AD3B-B13D-F748A743A8D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1133" y="5201332"/>
            <a:ext cx="878993" cy="878993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F100AECD-2D7E-2957-1303-41E5A2D2F9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8083" y="2779256"/>
            <a:ext cx="3876675" cy="1181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E99112DE-3DEB-C6A7-D51C-2FF1E42F08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894" y="4054126"/>
            <a:ext cx="3524715" cy="772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9" descr="A blue toy with a yellow face&#10;&#10;Description automatically generated">
            <a:extLst>
              <a:ext uri="{FF2B5EF4-FFF2-40B4-BE49-F238E27FC236}">
                <a16:creationId xmlns:a16="http://schemas.microsoft.com/office/drawing/2014/main" id="{DFAC41A4-E8CF-E5F1-6591-455EBD4D2EF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0279" y="2670969"/>
            <a:ext cx="1941179" cy="4564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7765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1EEC01-9765-79C5-3DDA-DDE473D10F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c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5E6D1C-E34D-D458-A11F-F3FF1D7279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7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4F86CE1-B50E-94FE-7443-0AF58E648A0C}"/>
              </a:ext>
            </a:extLst>
          </p:cNvPr>
          <p:cNvGrpSpPr/>
          <p:nvPr/>
        </p:nvGrpSpPr>
        <p:grpSpPr>
          <a:xfrm>
            <a:off x="9436101" y="2491316"/>
            <a:ext cx="781049" cy="676179"/>
            <a:chOff x="8168249" y="2156853"/>
            <a:chExt cx="2432218" cy="2007293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2C1FE745-70D8-3BDF-A58C-6D69403100A7}"/>
                </a:ext>
              </a:extLst>
            </p:cNvPr>
            <p:cNvGrpSpPr/>
            <p:nvPr/>
          </p:nvGrpSpPr>
          <p:grpSpPr>
            <a:xfrm>
              <a:off x="8168249" y="2968898"/>
              <a:ext cx="1883659" cy="1195248"/>
              <a:chOff x="6430073" y="5015052"/>
              <a:chExt cx="1883659" cy="1195248"/>
            </a:xfrm>
          </p:grpSpPr>
          <p:grpSp>
            <p:nvGrpSpPr>
              <p:cNvPr id="40" name="Group 5">
                <a:extLst>
                  <a:ext uri="{FF2B5EF4-FFF2-40B4-BE49-F238E27FC236}">
                    <a16:creationId xmlns:a16="http://schemas.microsoft.com/office/drawing/2014/main" id="{5CED7AC3-7297-3E8A-1ED9-EB92D51C16D1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7169213" y="5015052"/>
                <a:ext cx="1144519" cy="959028"/>
                <a:chOff x="3550" y="1917"/>
                <a:chExt cx="580" cy="486"/>
              </a:xfrm>
            </p:grpSpPr>
            <p:sp>
              <p:nvSpPr>
                <p:cNvPr id="57" name="Freeform 6">
                  <a:extLst>
                    <a:ext uri="{FF2B5EF4-FFF2-40B4-BE49-F238E27FC236}">
                      <a16:creationId xmlns:a16="http://schemas.microsoft.com/office/drawing/2014/main" id="{D8886299-94CC-4982-576C-2338E6BFC1E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2045"/>
                  <a:ext cx="198" cy="358"/>
                </a:xfrm>
                <a:custGeom>
                  <a:avLst/>
                  <a:gdLst>
                    <a:gd name="T0" fmla="*/ 0 w 198"/>
                    <a:gd name="T1" fmla="*/ 242 h 358"/>
                    <a:gd name="T2" fmla="*/ 198 w 198"/>
                    <a:gd name="T3" fmla="*/ 358 h 358"/>
                    <a:gd name="T4" fmla="*/ 198 w 198"/>
                    <a:gd name="T5" fmla="*/ 115 h 358"/>
                    <a:gd name="T6" fmla="*/ 0 w 198"/>
                    <a:gd name="T7" fmla="*/ 0 h 358"/>
                    <a:gd name="T8" fmla="*/ 0 w 198"/>
                    <a:gd name="T9" fmla="*/ 242 h 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8" h="358">
                      <a:moveTo>
                        <a:pt x="0" y="242"/>
                      </a:moveTo>
                      <a:lnTo>
                        <a:pt x="198" y="358"/>
                      </a:lnTo>
                      <a:lnTo>
                        <a:pt x="198" y="115"/>
                      </a:lnTo>
                      <a:lnTo>
                        <a:pt x="0" y="0"/>
                      </a:lnTo>
                      <a:lnTo>
                        <a:pt x="0" y="242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8" name="Freeform 7">
                  <a:extLst>
                    <a:ext uri="{FF2B5EF4-FFF2-40B4-BE49-F238E27FC236}">
                      <a16:creationId xmlns:a16="http://schemas.microsoft.com/office/drawing/2014/main" id="{1EF579FE-95D6-8596-0DB5-0A1317EB178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48" y="2037"/>
                  <a:ext cx="382" cy="366"/>
                </a:xfrm>
                <a:custGeom>
                  <a:avLst/>
                  <a:gdLst>
                    <a:gd name="T0" fmla="*/ 0 w 382"/>
                    <a:gd name="T1" fmla="*/ 366 h 366"/>
                    <a:gd name="T2" fmla="*/ 382 w 382"/>
                    <a:gd name="T3" fmla="*/ 245 h 366"/>
                    <a:gd name="T4" fmla="*/ 382 w 382"/>
                    <a:gd name="T5" fmla="*/ 0 h 366"/>
                    <a:gd name="T6" fmla="*/ 0 w 382"/>
                    <a:gd name="T7" fmla="*/ 123 h 366"/>
                    <a:gd name="T8" fmla="*/ 0 w 382"/>
                    <a:gd name="T9" fmla="*/ 366 h 3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82" h="366">
                      <a:moveTo>
                        <a:pt x="0" y="366"/>
                      </a:moveTo>
                      <a:lnTo>
                        <a:pt x="382" y="245"/>
                      </a:lnTo>
                      <a:lnTo>
                        <a:pt x="382" y="0"/>
                      </a:lnTo>
                      <a:lnTo>
                        <a:pt x="0" y="123"/>
                      </a:lnTo>
                      <a:lnTo>
                        <a:pt x="0" y="366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9" name="Freeform 8">
                  <a:extLst>
                    <a:ext uri="{FF2B5EF4-FFF2-40B4-BE49-F238E27FC236}">
                      <a16:creationId xmlns:a16="http://schemas.microsoft.com/office/drawing/2014/main" id="{44D9AF2E-AC25-3C30-9C45-11C168C524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1922"/>
                  <a:ext cx="580" cy="238"/>
                </a:xfrm>
                <a:custGeom>
                  <a:avLst/>
                  <a:gdLst>
                    <a:gd name="T0" fmla="*/ 198 w 580"/>
                    <a:gd name="T1" fmla="*/ 238 h 238"/>
                    <a:gd name="T2" fmla="*/ 580 w 580"/>
                    <a:gd name="T3" fmla="*/ 115 h 238"/>
                    <a:gd name="T4" fmla="*/ 383 w 580"/>
                    <a:gd name="T5" fmla="*/ 0 h 238"/>
                    <a:gd name="T6" fmla="*/ 0 w 580"/>
                    <a:gd name="T7" fmla="*/ 123 h 238"/>
                    <a:gd name="T8" fmla="*/ 198 w 580"/>
                    <a:gd name="T9" fmla="*/ 238 h 2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80" h="238">
                      <a:moveTo>
                        <a:pt x="198" y="238"/>
                      </a:moveTo>
                      <a:lnTo>
                        <a:pt x="580" y="115"/>
                      </a:lnTo>
                      <a:lnTo>
                        <a:pt x="383" y="0"/>
                      </a:lnTo>
                      <a:lnTo>
                        <a:pt x="0" y="123"/>
                      </a:lnTo>
                      <a:lnTo>
                        <a:pt x="198" y="238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0" name="Rectangle 9">
                  <a:extLst>
                    <a:ext uri="{FF2B5EF4-FFF2-40B4-BE49-F238E27FC236}">
                      <a16:creationId xmlns:a16="http://schemas.microsoft.com/office/drawing/2014/main" id="{FD4E5DC3-EC27-779A-DE58-F90BE527B3F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04"/>
                  <a:ext cx="110" cy="33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1" name="Oval 10">
                  <a:extLst>
                    <a:ext uri="{FF2B5EF4-FFF2-40B4-BE49-F238E27FC236}">
                      <a16:creationId xmlns:a16="http://schemas.microsoft.com/office/drawing/2014/main" id="{DEB2485C-B3BE-85D8-3514-974B3DCAACE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13"/>
                  <a:ext cx="110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2" name="Oval 11">
                  <a:extLst>
                    <a:ext uri="{FF2B5EF4-FFF2-40B4-BE49-F238E27FC236}">
                      <a16:creationId xmlns:a16="http://schemas.microsoft.com/office/drawing/2014/main" id="{5A48BEE1-2BBE-818F-F039-9D80051385D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1980"/>
                  <a:ext cx="110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3" name="Rectangle 12">
                  <a:extLst>
                    <a:ext uri="{FF2B5EF4-FFF2-40B4-BE49-F238E27FC236}">
                      <a16:creationId xmlns:a16="http://schemas.microsoft.com/office/drawing/2014/main" id="{5599F130-DC35-40CB-EAA6-FD5CFF71417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4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4" name="Oval 13">
                  <a:extLst>
                    <a:ext uri="{FF2B5EF4-FFF2-40B4-BE49-F238E27FC236}">
                      <a16:creationId xmlns:a16="http://schemas.microsoft.com/office/drawing/2014/main" id="{45569BDC-995C-E19B-9532-AC44ABFC566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5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5" name="Oval 14">
                  <a:extLst>
                    <a:ext uri="{FF2B5EF4-FFF2-40B4-BE49-F238E27FC236}">
                      <a16:creationId xmlns:a16="http://schemas.microsoft.com/office/drawing/2014/main" id="{8D36C82C-D59A-95FD-BDEF-7A13D456680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17"/>
                  <a:ext cx="113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6" name="Rectangle 15">
                  <a:extLst>
                    <a:ext uri="{FF2B5EF4-FFF2-40B4-BE49-F238E27FC236}">
                      <a16:creationId xmlns:a16="http://schemas.microsoft.com/office/drawing/2014/main" id="{C4D63433-21DA-5168-D7AC-E2480852023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7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7" name="Oval 16">
                  <a:extLst>
                    <a:ext uri="{FF2B5EF4-FFF2-40B4-BE49-F238E27FC236}">
                      <a16:creationId xmlns:a16="http://schemas.microsoft.com/office/drawing/2014/main" id="{9AD5ED98-1E8D-5496-7B06-B446E0EBF60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8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8" name="Oval 17">
                  <a:extLst>
                    <a:ext uri="{FF2B5EF4-FFF2-40B4-BE49-F238E27FC236}">
                      <a16:creationId xmlns:a16="http://schemas.microsoft.com/office/drawing/2014/main" id="{B16A522B-32C1-6D43-1732-FBF1B39A98C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47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9" name="Rectangle 18">
                  <a:extLst>
                    <a:ext uri="{FF2B5EF4-FFF2-40B4-BE49-F238E27FC236}">
                      <a16:creationId xmlns:a16="http://schemas.microsoft.com/office/drawing/2014/main" id="{EC342296-E4D9-0B6E-6782-3062DBA3A14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13"/>
                  <a:ext cx="111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0" name="Oval 19">
                  <a:extLst>
                    <a:ext uri="{FF2B5EF4-FFF2-40B4-BE49-F238E27FC236}">
                      <a16:creationId xmlns:a16="http://schemas.microsoft.com/office/drawing/2014/main" id="{2EBF947D-AAFC-4A10-2C93-37B768F714A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21"/>
                  <a:ext cx="111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1" name="Oval 20">
                  <a:extLst>
                    <a:ext uri="{FF2B5EF4-FFF2-40B4-BE49-F238E27FC236}">
                      <a16:creationId xmlns:a16="http://schemas.microsoft.com/office/drawing/2014/main" id="{EA8B73D2-321B-7B0A-0C68-52351009D29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1989"/>
                  <a:ext cx="111" cy="48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41" name="Group 5">
                <a:extLst>
                  <a:ext uri="{FF2B5EF4-FFF2-40B4-BE49-F238E27FC236}">
                    <a16:creationId xmlns:a16="http://schemas.microsoft.com/office/drawing/2014/main" id="{DCAA8E72-1BB2-C2EB-C93C-AD37ED120E93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6430073" y="5251272"/>
                <a:ext cx="1144519" cy="959028"/>
                <a:chOff x="3550" y="1917"/>
                <a:chExt cx="580" cy="486"/>
              </a:xfrm>
            </p:grpSpPr>
            <p:sp>
              <p:nvSpPr>
                <p:cNvPr id="42" name="Freeform 6">
                  <a:extLst>
                    <a:ext uri="{FF2B5EF4-FFF2-40B4-BE49-F238E27FC236}">
                      <a16:creationId xmlns:a16="http://schemas.microsoft.com/office/drawing/2014/main" id="{F8328693-44A3-8762-1803-374EB6BC59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2045"/>
                  <a:ext cx="198" cy="358"/>
                </a:xfrm>
                <a:custGeom>
                  <a:avLst/>
                  <a:gdLst>
                    <a:gd name="T0" fmla="*/ 0 w 198"/>
                    <a:gd name="T1" fmla="*/ 242 h 358"/>
                    <a:gd name="T2" fmla="*/ 198 w 198"/>
                    <a:gd name="T3" fmla="*/ 358 h 358"/>
                    <a:gd name="T4" fmla="*/ 198 w 198"/>
                    <a:gd name="T5" fmla="*/ 115 h 358"/>
                    <a:gd name="T6" fmla="*/ 0 w 198"/>
                    <a:gd name="T7" fmla="*/ 0 h 358"/>
                    <a:gd name="T8" fmla="*/ 0 w 198"/>
                    <a:gd name="T9" fmla="*/ 242 h 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8" h="358">
                      <a:moveTo>
                        <a:pt x="0" y="242"/>
                      </a:moveTo>
                      <a:lnTo>
                        <a:pt x="198" y="358"/>
                      </a:lnTo>
                      <a:lnTo>
                        <a:pt x="198" y="115"/>
                      </a:lnTo>
                      <a:lnTo>
                        <a:pt x="0" y="0"/>
                      </a:lnTo>
                      <a:lnTo>
                        <a:pt x="0" y="242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3" name="Freeform 7">
                  <a:extLst>
                    <a:ext uri="{FF2B5EF4-FFF2-40B4-BE49-F238E27FC236}">
                      <a16:creationId xmlns:a16="http://schemas.microsoft.com/office/drawing/2014/main" id="{B551CC31-4DCB-C546-0C25-DE9B5ACD1C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48" y="2037"/>
                  <a:ext cx="382" cy="366"/>
                </a:xfrm>
                <a:custGeom>
                  <a:avLst/>
                  <a:gdLst>
                    <a:gd name="T0" fmla="*/ 0 w 382"/>
                    <a:gd name="T1" fmla="*/ 366 h 366"/>
                    <a:gd name="T2" fmla="*/ 382 w 382"/>
                    <a:gd name="T3" fmla="*/ 245 h 366"/>
                    <a:gd name="T4" fmla="*/ 382 w 382"/>
                    <a:gd name="T5" fmla="*/ 0 h 366"/>
                    <a:gd name="T6" fmla="*/ 0 w 382"/>
                    <a:gd name="T7" fmla="*/ 123 h 366"/>
                    <a:gd name="T8" fmla="*/ 0 w 382"/>
                    <a:gd name="T9" fmla="*/ 366 h 3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82" h="366">
                      <a:moveTo>
                        <a:pt x="0" y="366"/>
                      </a:moveTo>
                      <a:lnTo>
                        <a:pt x="382" y="245"/>
                      </a:lnTo>
                      <a:lnTo>
                        <a:pt x="382" y="0"/>
                      </a:lnTo>
                      <a:lnTo>
                        <a:pt x="0" y="123"/>
                      </a:lnTo>
                      <a:lnTo>
                        <a:pt x="0" y="366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4" name="Freeform 8">
                  <a:extLst>
                    <a:ext uri="{FF2B5EF4-FFF2-40B4-BE49-F238E27FC236}">
                      <a16:creationId xmlns:a16="http://schemas.microsoft.com/office/drawing/2014/main" id="{5E715DB3-7095-BCFE-A060-091823725C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1922"/>
                  <a:ext cx="580" cy="238"/>
                </a:xfrm>
                <a:custGeom>
                  <a:avLst/>
                  <a:gdLst>
                    <a:gd name="T0" fmla="*/ 198 w 580"/>
                    <a:gd name="T1" fmla="*/ 238 h 238"/>
                    <a:gd name="T2" fmla="*/ 580 w 580"/>
                    <a:gd name="T3" fmla="*/ 115 h 238"/>
                    <a:gd name="T4" fmla="*/ 383 w 580"/>
                    <a:gd name="T5" fmla="*/ 0 h 238"/>
                    <a:gd name="T6" fmla="*/ 0 w 580"/>
                    <a:gd name="T7" fmla="*/ 123 h 238"/>
                    <a:gd name="T8" fmla="*/ 198 w 580"/>
                    <a:gd name="T9" fmla="*/ 238 h 2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80" h="238">
                      <a:moveTo>
                        <a:pt x="198" y="238"/>
                      </a:moveTo>
                      <a:lnTo>
                        <a:pt x="580" y="115"/>
                      </a:lnTo>
                      <a:lnTo>
                        <a:pt x="383" y="0"/>
                      </a:lnTo>
                      <a:lnTo>
                        <a:pt x="0" y="123"/>
                      </a:lnTo>
                      <a:lnTo>
                        <a:pt x="198" y="238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5" name="Rectangle 9">
                  <a:extLst>
                    <a:ext uri="{FF2B5EF4-FFF2-40B4-BE49-F238E27FC236}">
                      <a16:creationId xmlns:a16="http://schemas.microsoft.com/office/drawing/2014/main" id="{8EBD2AB6-DBBB-E9E3-A95C-040AD030FB0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04"/>
                  <a:ext cx="110" cy="33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6" name="Oval 10">
                  <a:extLst>
                    <a:ext uri="{FF2B5EF4-FFF2-40B4-BE49-F238E27FC236}">
                      <a16:creationId xmlns:a16="http://schemas.microsoft.com/office/drawing/2014/main" id="{8D4EFCCD-752B-A333-05D8-22439A35849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13"/>
                  <a:ext cx="110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7" name="Oval 11">
                  <a:extLst>
                    <a:ext uri="{FF2B5EF4-FFF2-40B4-BE49-F238E27FC236}">
                      <a16:creationId xmlns:a16="http://schemas.microsoft.com/office/drawing/2014/main" id="{20C283C7-95CA-7290-2519-4D873241B7B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1980"/>
                  <a:ext cx="110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8" name="Rectangle 12">
                  <a:extLst>
                    <a:ext uri="{FF2B5EF4-FFF2-40B4-BE49-F238E27FC236}">
                      <a16:creationId xmlns:a16="http://schemas.microsoft.com/office/drawing/2014/main" id="{D87F1B45-DDAC-C757-88E8-9AC7F800BAE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4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9" name="Oval 13">
                  <a:extLst>
                    <a:ext uri="{FF2B5EF4-FFF2-40B4-BE49-F238E27FC236}">
                      <a16:creationId xmlns:a16="http://schemas.microsoft.com/office/drawing/2014/main" id="{0597DCB4-D203-63D3-2E43-1EDE4007EFE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5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0" name="Oval 14">
                  <a:extLst>
                    <a:ext uri="{FF2B5EF4-FFF2-40B4-BE49-F238E27FC236}">
                      <a16:creationId xmlns:a16="http://schemas.microsoft.com/office/drawing/2014/main" id="{2F963A75-54BA-A375-8CE7-E715D896FFD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17"/>
                  <a:ext cx="113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1" name="Rectangle 15">
                  <a:extLst>
                    <a:ext uri="{FF2B5EF4-FFF2-40B4-BE49-F238E27FC236}">
                      <a16:creationId xmlns:a16="http://schemas.microsoft.com/office/drawing/2014/main" id="{FF439DF7-5180-F0DD-5F34-94AF657584F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7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2" name="Oval 16">
                  <a:extLst>
                    <a:ext uri="{FF2B5EF4-FFF2-40B4-BE49-F238E27FC236}">
                      <a16:creationId xmlns:a16="http://schemas.microsoft.com/office/drawing/2014/main" id="{A31F8268-200A-4831-6FF9-4FD68E14FBD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8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3" name="Oval 17">
                  <a:extLst>
                    <a:ext uri="{FF2B5EF4-FFF2-40B4-BE49-F238E27FC236}">
                      <a16:creationId xmlns:a16="http://schemas.microsoft.com/office/drawing/2014/main" id="{2F3364B3-5E52-54E4-CB97-CB57E7DE92C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47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4" name="Rectangle 18">
                  <a:extLst>
                    <a:ext uri="{FF2B5EF4-FFF2-40B4-BE49-F238E27FC236}">
                      <a16:creationId xmlns:a16="http://schemas.microsoft.com/office/drawing/2014/main" id="{D71037A4-5038-2A14-0A62-801A58AE609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13"/>
                  <a:ext cx="111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5" name="Oval 19">
                  <a:extLst>
                    <a:ext uri="{FF2B5EF4-FFF2-40B4-BE49-F238E27FC236}">
                      <a16:creationId xmlns:a16="http://schemas.microsoft.com/office/drawing/2014/main" id="{61F320F4-7F2C-FE28-5476-06413C5C2E4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21"/>
                  <a:ext cx="111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6" name="Oval 20">
                  <a:extLst>
                    <a:ext uri="{FF2B5EF4-FFF2-40B4-BE49-F238E27FC236}">
                      <a16:creationId xmlns:a16="http://schemas.microsoft.com/office/drawing/2014/main" id="{30089E4E-FBD3-9D6A-618B-DB265380BD8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1989"/>
                  <a:ext cx="111" cy="48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AD070C7C-692C-6A28-9EEB-1388B8D646C2}"/>
                </a:ext>
              </a:extLst>
            </p:cNvPr>
            <p:cNvGrpSpPr/>
            <p:nvPr/>
          </p:nvGrpSpPr>
          <p:grpSpPr>
            <a:xfrm>
              <a:off x="8716808" y="2156853"/>
              <a:ext cx="1883659" cy="1195248"/>
              <a:chOff x="6430073" y="5015052"/>
              <a:chExt cx="1883659" cy="1195248"/>
            </a:xfrm>
          </p:grpSpPr>
          <p:grpSp>
            <p:nvGrpSpPr>
              <p:cNvPr id="8" name="Group 5">
                <a:extLst>
                  <a:ext uri="{FF2B5EF4-FFF2-40B4-BE49-F238E27FC236}">
                    <a16:creationId xmlns:a16="http://schemas.microsoft.com/office/drawing/2014/main" id="{0A7C7ED3-8B06-71DB-F266-F5221A53651F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7169213" y="5015052"/>
                <a:ext cx="1144519" cy="959028"/>
                <a:chOff x="3550" y="1917"/>
                <a:chExt cx="580" cy="486"/>
              </a:xfrm>
            </p:grpSpPr>
            <p:sp>
              <p:nvSpPr>
                <p:cNvPr id="25" name="Freeform 6">
                  <a:extLst>
                    <a:ext uri="{FF2B5EF4-FFF2-40B4-BE49-F238E27FC236}">
                      <a16:creationId xmlns:a16="http://schemas.microsoft.com/office/drawing/2014/main" id="{3FA96A4E-7370-01B2-3CF1-BB6CA6E7E2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2045"/>
                  <a:ext cx="198" cy="358"/>
                </a:xfrm>
                <a:custGeom>
                  <a:avLst/>
                  <a:gdLst>
                    <a:gd name="T0" fmla="*/ 0 w 198"/>
                    <a:gd name="T1" fmla="*/ 242 h 358"/>
                    <a:gd name="T2" fmla="*/ 198 w 198"/>
                    <a:gd name="T3" fmla="*/ 358 h 358"/>
                    <a:gd name="T4" fmla="*/ 198 w 198"/>
                    <a:gd name="T5" fmla="*/ 115 h 358"/>
                    <a:gd name="T6" fmla="*/ 0 w 198"/>
                    <a:gd name="T7" fmla="*/ 0 h 358"/>
                    <a:gd name="T8" fmla="*/ 0 w 198"/>
                    <a:gd name="T9" fmla="*/ 242 h 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8" h="358">
                      <a:moveTo>
                        <a:pt x="0" y="242"/>
                      </a:moveTo>
                      <a:lnTo>
                        <a:pt x="198" y="358"/>
                      </a:lnTo>
                      <a:lnTo>
                        <a:pt x="198" y="115"/>
                      </a:lnTo>
                      <a:lnTo>
                        <a:pt x="0" y="0"/>
                      </a:lnTo>
                      <a:lnTo>
                        <a:pt x="0" y="242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" name="Freeform 7">
                  <a:extLst>
                    <a:ext uri="{FF2B5EF4-FFF2-40B4-BE49-F238E27FC236}">
                      <a16:creationId xmlns:a16="http://schemas.microsoft.com/office/drawing/2014/main" id="{D2AE5355-6670-01AC-EDA8-FF353A25011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48" y="2037"/>
                  <a:ext cx="382" cy="366"/>
                </a:xfrm>
                <a:custGeom>
                  <a:avLst/>
                  <a:gdLst>
                    <a:gd name="T0" fmla="*/ 0 w 382"/>
                    <a:gd name="T1" fmla="*/ 366 h 366"/>
                    <a:gd name="T2" fmla="*/ 382 w 382"/>
                    <a:gd name="T3" fmla="*/ 245 h 366"/>
                    <a:gd name="T4" fmla="*/ 382 w 382"/>
                    <a:gd name="T5" fmla="*/ 0 h 366"/>
                    <a:gd name="T6" fmla="*/ 0 w 382"/>
                    <a:gd name="T7" fmla="*/ 123 h 366"/>
                    <a:gd name="T8" fmla="*/ 0 w 382"/>
                    <a:gd name="T9" fmla="*/ 366 h 3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82" h="366">
                      <a:moveTo>
                        <a:pt x="0" y="366"/>
                      </a:moveTo>
                      <a:lnTo>
                        <a:pt x="382" y="245"/>
                      </a:lnTo>
                      <a:lnTo>
                        <a:pt x="382" y="0"/>
                      </a:lnTo>
                      <a:lnTo>
                        <a:pt x="0" y="123"/>
                      </a:lnTo>
                      <a:lnTo>
                        <a:pt x="0" y="366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" name="Freeform 8">
                  <a:extLst>
                    <a:ext uri="{FF2B5EF4-FFF2-40B4-BE49-F238E27FC236}">
                      <a16:creationId xmlns:a16="http://schemas.microsoft.com/office/drawing/2014/main" id="{AB5B67C5-7E24-143E-041C-2DA7A0B5B27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1922"/>
                  <a:ext cx="580" cy="238"/>
                </a:xfrm>
                <a:custGeom>
                  <a:avLst/>
                  <a:gdLst>
                    <a:gd name="T0" fmla="*/ 198 w 580"/>
                    <a:gd name="T1" fmla="*/ 238 h 238"/>
                    <a:gd name="T2" fmla="*/ 580 w 580"/>
                    <a:gd name="T3" fmla="*/ 115 h 238"/>
                    <a:gd name="T4" fmla="*/ 383 w 580"/>
                    <a:gd name="T5" fmla="*/ 0 h 238"/>
                    <a:gd name="T6" fmla="*/ 0 w 580"/>
                    <a:gd name="T7" fmla="*/ 123 h 238"/>
                    <a:gd name="T8" fmla="*/ 198 w 580"/>
                    <a:gd name="T9" fmla="*/ 238 h 2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80" h="238">
                      <a:moveTo>
                        <a:pt x="198" y="238"/>
                      </a:moveTo>
                      <a:lnTo>
                        <a:pt x="580" y="115"/>
                      </a:lnTo>
                      <a:lnTo>
                        <a:pt x="383" y="0"/>
                      </a:lnTo>
                      <a:lnTo>
                        <a:pt x="0" y="123"/>
                      </a:lnTo>
                      <a:lnTo>
                        <a:pt x="198" y="238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" name="Rectangle 9">
                  <a:extLst>
                    <a:ext uri="{FF2B5EF4-FFF2-40B4-BE49-F238E27FC236}">
                      <a16:creationId xmlns:a16="http://schemas.microsoft.com/office/drawing/2014/main" id="{C616B76D-6B34-E19B-2297-51F39B6A68F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04"/>
                  <a:ext cx="110" cy="33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" name="Oval 10">
                  <a:extLst>
                    <a:ext uri="{FF2B5EF4-FFF2-40B4-BE49-F238E27FC236}">
                      <a16:creationId xmlns:a16="http://schemas.microsoft.com/office/drawing/2014/main" id="{4983B96A-AA3C-7E7B-2B73-4C70D874CC0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13"/>
                  <a:ext cx="110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" name="Oval 11">
                  <a:extLst>
                    <a:ext uri="{FF2B5EF4-FFF2-40B4-BE49-F238E27FC236}">
                      <a16:creationId xmlns:a16="http://schemas.microsoft.com/office/drawing/2014/main" id="{AFDAA4FD-8600-D938-8F77-836555A915B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1980"/>
                  <a:ext cx="110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" name="Rectangle 12">
                  <a:extLst>
                    <a:ext uri="{FF2B5EF4-FFF2-40B4-BE49-F238E27FC236}">
                      <a16:creationId xmlns:a16="http://schemas.microsoft.com/office/drawing/2014/main" id="{1306996F-78C5-B035-CB02-D4465402CD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4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" name="Oval 13">
                  <a:extLst>
                    <a:ext uri="{FF2B5EF4-FFF2-40B4-BE49-F238E27FC236}">
                      <a16:creationId xmlns:a16="http://schemas.microsoft.com/office/drawing/2014/main" id="{0E9164DB-1D35-A0E1-FD8C-DE1A57415ED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5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" name="Oval 14">
                  <a:extLst>
                    <a:ext uri="{FF2B5EF4-FFF2-40B4-BE49-F238E27FC236}">
                      <a16:creationId xmlns:a16="http://schemas.microsoft.com/office/drawing/2014/main" id="{BE8E4C8F-BC6D-90AE-B0A0-3BFEE841CC0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17"/>
                  <a:ext cx="113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4" name="Rectangle 15">
                  <a:extLst>
                    <a:ext uri="{FF2B5EF4-FFF2-40B4-BE49-F238E27FC236}">
                      <a16:creationId xmlns:a16="http://schemas.microsoft.com/office/drawing/2014/main" id="{BFB45D0F-85F9-AE0C-906D-E2CD7029C91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7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5" name="Oval 16">
                  <a:extLst>
                    <a:ext uri="{FF2B5EF4-FFF2-40B4-BE49-F238E27FC236}">
                      <a16:creationId xmlns:a16="http://schemas.microsoft.com/office/drawing/2014/main" id="{C9D92E7E-8488-A184-158F-93C161D4BD7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8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6" name="Oval 17">
                  <a:extLst>
                    <a:ext uri="{FF2B5EF4-FFF2-40B4-BE49-F238E27FC236}">
                      <a16:creationId xmlns:a16="http://schemas.microsoft.com/office/drawing/2014/main" id="{A73062A9-4C7F-FF3F-4558-7288E64EF9D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47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7" name="Rectangle 18">
                  <a:extLst>
                    <a:ext uri="{FF2B5EF4-FFF2-40B4-BE49-F238E27FC236}">
                      <a16:creationId xmlns:a16="http://schemas.microsoft.com/office/drawing/2014/main" id="{133983F9-1A07-BD21-17B6-D1EC4F1BDF0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13"/>
                  <a:ext cx="111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8" name="Oval 19">
                  <a:extLst>
                    <a:ext uri="{FF2B5EF4-FFF2-40B4-BE49-F238E27FC236}">
                      <a16:creationId xmlns:a16="http://schemas.microsoft.com/office/drawing/2014/main" id="{D66906F0-04E3-D48C-09A0-F2B899E6623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21"/>
                  <a:ext cx="111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9" name="Oval 20">
                  <a:extLst>
                    <a:ext uri="{FF2B5EF4-FFF2-40B4-BE49-F238E27FC236}">
                      <a16:creationId xmlns:a16="http://schemas.microsoft.com/office/drawing/2014/main" id="{4785B98B-8608-308C-9DA7-368B41AF0A3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1989"/>
                  <a:ext cx="111" cy="48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9" name="Group 5">
                <a:extLst>
                  <a:ext uri="{FF2B5EF4-FFF2-40B4-BE49-F238E27FC236}">
                    <a16:creationId xmlns:a16="http://schemas.microsoft.com/office/drawing/2014/main" id="{C20B2F3E-98E2-82A8-00E9-00DC3D060B65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6430073" y="5251272"/>
                <a:ext cx="1144519" cy="959028"/>
                <a:chOff x="3550" y="1917"/>
                <a:chExt cx="580" cy="486"/>
              </a:xfrm>
            </p:grpSpPr>
            <p:sp>
              <p:nvSpPr>
                <p:cNvPr id="10" name="Freeform 6">
                  <a:extLst>
                    <a:ext uri="{FF2B5EF4-FFF2-40B4-BE49-F238E27FC236}">
                      <a16:creationId xmlns:a16="http://schemas.microsoft.com/office/drawing/2014/main" id="{9815E233-D87F-6BCA-044C-B429EDCE2D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2045"/>
                  <a:ext cx="198" cy="358"/>
                </a:xfrm>
                <a:custGeom>
                  <a:avLst/>
                  <a:gdLst>
                    <a:gd name="T0" fmla="*/ 0 w 198"/>
                    <a:gd name="T1" fmla="*/ 242 h 358"/>
                    <a:gd name="T2" fmla="*/ 198 w 198"/>
                    <a:gd name="T3" fmla="*/ 358 h 358"/>
                    <a:gd name="T4" fmla="*/ 198 w 198"/>
                    <a:gd name="T5" fmla="*/ 115 h 358"/>
                    <a:gd name="T6" fmla="*/ 0 w 198"/>
                    <a:gd name="T7" fmla="*/ 0 h 358"/>
                    <a:gd name="T8" fmla="*/ 0 w 198"/>
                    <a:gd name="T9" fmla="*/ 242 h 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8" h="358">
                      <a:moveTo>
                        <a:pt x="0" y="242"/>
                      </a:moveTo>
                      <a:lnTo>
                        <a:pt x="198" y="358"/>
                      </a:lnTo>
                      <a:lnTo>
                        <a:pt x="198" y="115"/>
                      </a:lnTo>
                      <a:lnTo>
                        <a:pt x="0" y="0"/>
                      </a:lnTo>
                      <a:lnTo>
                        <a:pt x="0" y="242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" name="Freeform 7">
                  <a:extLst>
                    <a:ext uri="{FF2B5EF4-FFF2-40B4-BE49-F238E27FC236}">
                      <a16:creationId xmlns:a16="http://schemas.microsoft.com/office/drawing/2014/main" id="{DE818B2F-C479-4AF5-5C80-643E9E8370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48" y="2037"/>
                  <a:ext cx="382" cy="366"/>
                </a:xfrm>
                <a:custGeom>
                  <a:avLst/>
                  <a:gdLst>
                    <a:gd name="T0" fmla="*/ 0 w 382"/>
                    <a:gd name="T1" fmla="*/ 366 h 366"/>
                    <a:gd name="T2" fmla="*/ 382 w 382"/>
                    <a:gd name="T3" fmla="*/ 245 h 366"/>
                    <a:gd name="T4" fmla="*/ 382 w 382"/>
                    <a:gd name="T5" fmla="*/ 0 h 366"/>
                    <a:gd name="T6" fmla="*/ 0 w 382"/>
                    <a:gd name="T7" fmla="*/ 123 h 366"/>
                    <a:gd name="T8" fmla="*/ 0 w 382"/>
                    <a:gd name="T9" fmla="*/ 366 h 3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82" h="366">
                      <a:moveTo>
                        <a:pt x="0" y="366"/>
                      </a:moveTo>
                      <a:lnTo>
                        <a:pt x="382" y="245"/>
                      </a:lnTo>
                      <a:lnTo>
                        <a:pt x="382" y="0"/>
                      </a:lnTo>
                      <a:lnTo>
                        <a:pt x="0" y="123"/>
                      </a:lnTo>
                      <a:lnTo>
                        <a:pt x="0" y="366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" name="Freeform 8">
                  <a:extLst>
                    <a:ext uri="{FF2B5EF4-FFF2-40B4-BE49-F238E27FC236}">
                      <a16:creationId xmlns:a16="http://schemas.microsoft.com/office/drawing/2014/main" id="{CDA19CA8-E054-9450-3E07-77EF3A8DD4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1922"/>
                  <a:ext cx="580" cy="238"/>
                </a:xfrm>
                <a:custGeom>
                  <a:avLst/>
                  <a:gdLst>
                    <a:gd name="T0" fmla="*/ 198 w 580"/>
                    <a:gd name="T1" fmla="*/ 238 h 238"/>
                    <a:gd name="T2" fmla="*/ 580 w 580"/>
                    <a:gd name="T3" fmla="*/ 115 h 238"/>
                    <a:gd name="T4" fmla="*/ 383 w 580"/>
                    <a:gd name="T5" fmla="*/ 0 h 238"/>
                    <a:gd name="T6" fmla="*/ 0 w 580"/>
                    <a:gd name="T7" fmla="*/ 123 h 238"/>
                    <a:gd name="T8" fmla="*/ 198 w 580"/>
                    <a:gd name="T9" fmla="*/ 238 h 2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80" h="238">
                      <a:moveTo>
                        <a:pt x="198" y="238"/>
                      </a:moveTo>
                      <a:lnTo>
                        <a:pt x="580" y="115"/>
                      </a:lnTo>
                      <a:lnTo>
                        <a:pt x="383" y="0"/>
                      </a:lnTo>
                      <a:lnTo>
                        <a:pt x="0" y="123"/>
                      </a:lnTo>
                      <a:lnTo>
                        <a:pt x="198" y="238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" name="Rectangle 9">
                  <a:extLst>
                    <a:ext uri="{FF2B5EF4-FFF2-40B4-BE49-F238E27FC236}">
                      <a16:creationId xmlns:a16="http://schemas.microsoft.com/office/drawing/2014/main" id="{3C53AA26-C467-23F5-C340-4C51DBDAFB1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04"/>
                  <a:ext cx="110" cy="33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" name="Oval 10">
                  <a:extLst>
                    <a:ext uri="{FF2B5EF4-FFF2-40B4-BE49-F238E27FC236}">
                      <a16:creationId xmlns:a16="http://schemas.microsoft.com/office/drawing/2014/main" id="{BD5346C9-BDD3-F351-A7C9-FC5F208EF61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13"/>
                  <a:ext cx="110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" name="Oval 11">
                  <a:extLst>
                    <a:ext uri="{FF2B5EF4-FFF2-40B4-BE49-F238E27FC236}">
                      <a16:creationId xmlns:a16="http://schemas.microsoft.com/office/drawing/2014/main" id="{62D4C4CD-3077-D4ED-040D-FE33CF6093F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1980"/>
                  <a:ext cx="110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" name="Rectangle 12">
                  <a:extLst>
                    <a:ext uri="{FF2B5EF4-FFF2-40B4-BE49-F238E27FC236}">
                      <a16:creationId xmlns:a16="http://schemas.microsoft.com/office/drawing/2014/main" id="{ACF87FC4-020A-7548-7C19-1BA057C8C64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4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" name="Oval 13">
                  <a:extLst>
                    <a:ext uri="{FF2B5EF4-FFF2-40B4-BE49-F238E27FC236}">
                      <a16:creationId xmlns:a16="http://schemas.microsoft.com/office/drawing/2014/main" id="{50DA58B0-8AD4-3214-D810-BD0BDF0E0AD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5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" name="Oval 14">
                  <a:extLst>
                    <a:ext uri="{FF2B5EF4-FFF2-40B4-BE49-F238E27FC236}">
                      <a16:creationId xmlns:a16="http://schemas.microsoft.com/office/drawing/2014/main" id="{453730EF-6446-9DA9-EDE5-BD93EE42ECD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17"/>
                  <a:ext cx="113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" name="Rectangle 15">
                  <a:extLst>
                    <a:ext uri="{FF2B5EF4-FFF2-40B4-BE49-F238E27FC236}">
                      <a16:creationId xmlns:a16="http://schemas.microsoft.com/office/drawing/2014/main" id="{B3015103-2CE3-1A97-C321-4A83ED15492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7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" name="Oval 16">
                  <a:extLst>
                    <a:ext uri="{FF2B5EF4-FFF2-40B4-BE49-F238E27FC236}">
                      <a16:creationId xmlns:a16="http://schemas.microsoft.com/office/drawing/2014/main" id="{1888E5EF-69F8-3575-9601-F4B4576EADF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8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" name="Oval 17">
                  <a:extLst>
                    <a:ext uri="{FF2B5EF4-FFF2-40B4-BE49-F238E27FC236}">
                      <a16:creationId xmlns:a16="http://schemas.microsoft.com/office/drawing/2014/main" id="{51F359AF-EA5E-BB7E-4970-CCFF3196967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47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" name="Rectangle 18">
                  <a:extLst>
                    <a:ext uri="{FF2B5EF4-FFF2-40B4-BE49-F238E27FC236}">
                      <a16:creationId xmlns:a16="http://schemas.microsoft.com/office/drawing/2014/main" id="{BA4A0805-6520-4098-A8BA-555029A2CA3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13"/>
                  <a:ext cx="111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" name="Oval 19">
                  <a:extLst>
                    <a:ext uri="{FF2B5EF4-FFF2-40B4-BE49-F238E27FC236}">
                      <a16:creationId xmlns:a16="http://schemas.microsoft.com/office/drawing/2014/main" id="{B0E7EF5F-65A4-F93B-8CBD-5F174033DE4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21"/>
                  <a:ext cx="111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" name="Oval 20">
                  <a:extLst>
                    <a:ext uri="{FF2B5EF4-FFF2-40B4-BE49-F238E27FC236}">
                      <a16:creationId xmlns:a16="http://schemas.microsoft.com/office/drawing/2014/main" id="{AA6E0167-B926-47A0-626F-1DFE3F8C525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1989"/>
                  <a:ext cx="111" cy="48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7123371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76211445-598A-3D65-B13F-C77C48DD25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graphicFrame>
        <p:nvGraphicFramePr>
          <p:cNvPr id="2" name="Content Placeholder 1">
            <a:extLst>
              <a:ext uri="{FF2B5EF4-FFF2-40B4-BE49-F238E27FC236}">
                <a16:creationId xmlns:a16="http://schemas.microsoft.com/office/drawing/2014/main" id="{16286F52-393A-56B8-9D59-8DF52C2CAA1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68278655"/>
              </p:ext>
            </p:extLst>
          </p:nvPr>
        </p:nvGraphicFramePr>
        <p:xfrm>
          <a:off x="563563" y="1825625"/>
          <a:ext cx="11064875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B00F02-28BF-CF4E-60A0-B60985FC6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D726C135-4F9E-3469-FEDF-3180B1451DAF}"/>
              </a:ext>
            </a:extLst>
          </p:cNvPr>
          <p:cNvSpPr/>
          <p:nvPr/>
        </p:nvSpPr>
        <p:spPr>
          <a:xfrm>
            <a:off x="207122" y="215979"/>
            <a:ext cx="9841445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10A6EFB4-EB70-F5E7-71F2-602F7ADFAED0}"/>
              </a:ext>
            </a:extLst>
          </p:cNvPr>
          <p:cNvSpPr/>
          <p:nvPr/>
        </p:nvSpPr>
        <p:spPr>
          <a:xfrm>
            <a:off x="1184596" y="396696"/>
            <a:ext cx="6907351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Agenda</a:t>
            </a:r>
          </a:p>
        </p:txBody>
      </p:sp>
      <p:pic>
        <p:nvPicPr>
          <p:cNvPr id="18" name="Picture 17" descr="A red and blue text on a black background&#10;&#10;Description automatically generated">
            <a:extLst>
              <a:ext uri="{FF2B5EF4-FFF2-40B4-BE49-F238E27FC236}">
                <a16:creationId xmlns:a16="http://schemas.microsoft.com/office/drawing/2014/main" id="{C63C3A1F-2DC8-4C17-D1C2-A0A3AB68E0AA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948" b="33033"/>
          <a:stretch/>
        </p:blipFill>
        <p:spPr>
          <a:xfrm>
            <a:off x="10169526" y="570271"/>
            <a:ext cx="1701585" cy="595866"/>
          </a:xfrm>
          <a:prstGeom prst="rect">
            <a:avLst/>
          </a:prstGeom>
        </p:spPr>
      </p:pic>
      <p:pic>
        <p:nvPicPr>
          <p:cNvPr id="12" name="Picture 11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46CDE0A9-8289-2401-EED3-4A7A169BD77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0566" y="2308763"/>
            <a:ext cx="1002185" cy="1002185"/>
          </a:xfrm>
          <a:prstGeom prst="rect">
            <a:avLst/>
          </a:prstGeom>
        </p:spPr>
      </p:pic>
      <p:grpSp>
        <p:nvGrpSpPr>
          <p:cNvPr id="38" name="Group 37">
            <a:extLst>
              <a:ext uri="{FF2B5EF4-FFF2-40B4-BE49-F238E27FC236}">
                <a16:creationId xmlns:a16="http://schemas.microsoft.com/office/drawing/2014/main" id="{8C2D5996-3B9C-5C0A-3E22-785B111BDDDE}"/>
              </a:ext>
            </a:extLst>
          </p:cNvPr>
          <p:cNvGrpSpPr/>
          <p:nvPr/>
        </p:nvGrpSpPr>
        <p:grpSpPr>
          <a:xfrm>
            <a:off x="455973" y="521423"/>
            <a:ext cx="603235" cy="603235"/>
            <a:chOff x="-94496" y="1430104"/>
            <a:chExt cx="603235" cy="603235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26E775A1-4B8E-07F7-4E98-5DCED5B03C52}"/>
                </a:ext>
              </a:extLst>
            </p:cNvPr>
            <p:cNvSpPr/>
            <p:nvPr/>
          </p:nvSpPr>
          <p:spPr>
            <a:xfrm>
              <a:off x="-94496" y="1430104"/>
              <a:ext cx="603235" cy="603235"/>
            </a:xfrm>
            <a:prstGeom prst="ellipse">
              <a:avLst/>
            </a:prstGeom>
            <a:solidFill>
              <a:srgbClr val="FFD100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450915E9-3C95-311B-BFC4-43F8C1D6A9AA}"/>
                </a:ext>
              </a:extLst>
            </p:cNvPr>
            <p:cNvGrpSpPr/>
            <p:nvPr/>
          </p:nvGrpSpPr>
          <p:grpSpPr>
            <a:xfrm>
              <a:off x="77236" y="1601835"/>
              <a:ext cx="259771" cy="259772"/>
              <a:chOff x="6773863" y="639763"/>
              <a:chExt cx="771525" cy="771526"/>
            </a:xfrm>
            <a:effectLst>
              <a:outerShdw dist="38100" dir="2700000" algn="tl" rotWithShape="0">
                <a:prstClr val="black">
                  <a:alpha val="20000"/>
                </a:prstClr>
              </a:outerShdw>
            </a:effectLst>
          </p:grpSpPr>
          <p:sp>
            <p:nvSpPr>
              <p:cNvPr id="20" name="Freeform 54">
                <a:extLst>
                  <a:ext uri="{FF2B5EF4-FFF2-40B4-BE49-F238E27FC236}">
                    <a16:creationId xmlns:a16="http://schemas.microsoft.com/office/drawing/2014/main" id="{C87E9EF9-D2AC-BBA2-8F3F-627DAFEA43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73863" y="684213"/>
                <a:ext cx="771525" cy="147638"/>
              </a:xfrm>
              <a:custGeom>
                <a:avLst/>
                <a:gdLst>
                  <a:gd name="T0" fmla="*/ 204 w 204"/>
                  <a:gd name="T1" fmla="*/ 39 h 39"/>
                  <a:gd name="T2" fmla="*/ 0 w 204"/>
                  <a:gd name="T3" fmla="*/ 39 h 39"/>
                  <a:gd name="T4" fmla="*/ 0 w 204"/>
                  <a:gd name="T5" fmla="*/ 20 h 39"/>
                  <a:gd name="T6" fmla="*/ 19 w 204"/>
                  <a:gd name="T7" fmla="*/ 0 h 39"/>
                  <a:gd name="T8" fmla="*/ 185 w 204"/>
                  <a:gd name="T9" fmla="*/ 0 h 39"/>
                  <a:gd name="T10" fmla="*/ 204 w 204"/>
                  <a:gd name="T11" fmla="*/ 20 h 39"/>
                  <a:gd name="T12" fmla="*/ 204 w 204"/>
                  <a:gd name="T13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39">
                    <a:moveTo>
                      <a:pt x="204" y="39"/>
                    </a:moveTo>
                    <a:cubicBezTo>
                      <a:pt x="0" y="39"/>
                      <a:pt x="0" y="39"/>
                      <a:pt x="0" y="39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8" y="0"/>
                      <a:pt x="19" y="0"/>
                    </a:cubicBezTo>
                    <a:cubicBezTo>
                      <a:pt x="185" y="0"/>
                      <a:pt x="185" y="0"/>
                      <a:pt x="185" y="0"/>
                    </a:cubicBezTo>
                    <a:cubicBezTo>
                      <a:pt x="196" y="0"/>
                      <a:pt x="204" y="9"/>
                      <a:pt x="204" y="20"/>
                    </a:cubicBezTo>
                    <a:lnTo>
                      <a:pt x="204" y="39"/>
                    </a:lnTo>
                    <a:close/>
                  </a:path>
                </a:pathLst>
              </a:custGeom>
              <a:solidFill>
                <a:srgbClr val="DF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1" name="Freeform 55">
                <a:extLst>
                  <a:ext uri="{FF2B5EF4-FFF2-40B4-BE49-F238E27FC236}">
                    <a16:creationId xmlns:a16="http://schemas.microsoft.com/office/drawing/2014/main" id="{7E563941-AEF1-263A-29F9-4BD83D62DF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73863" y="684213"/>
                <a:ext cx="355600" cy="147638"/>
              </a:xfrm>
              <a:custGeom>
                <a:avLst/>
                <a:gdLst>
                  <a:gd name="T0" fmla="*/ 94 w 94"/>
                  <a:gd name="T1" fmla="*/ 0 h 39"/>
                  <a:gd name="T2" fmla="*/ 19 w 94"/>
                  <a:gd name="T3" fmla="*/ 0 h 39"/>
                  <a:gd name="T4" fmla="*/ 0 w 94"/>
                  <a:gd name="T5" fmla="*/ 20 h 39"/>
                  <a:gd name="T6" fmla="*/ 0 w 94"/>
                  <a:gd name="T7" fmla="*/ 39 h 39"/>
                  <a:gd name="T8" fmla="*/ 55 w 94"/>
                  <a:gd name="T9" fmla="*/ 39 h 39"/>
                  <a:gd name="T10" fmla="*/ 94 w 94"/>
                  <a:gd name="T11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4" h="39">
                    <a:moveTo>
                      <a:pt x="94" y="0"/>
                    </a:moveTo>
                    <a:cubicBezTo>
                      <a:pt x="19" y="0"/>
                      <a:pt x="19" y="0"/>
                      <a:pt x="19" y="0"/>
                    </a:cubicBezTo>
                    <a:cubicBezTo>
                      <a:pt x="8" y="0"/>
                      <a:pt x="0" y="9"/>
                      <a:pt x="0" y="20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55" y="39"/>
                      <a:pt x="55" y="39"/>
                      <a:pt x="55" y="39"/>
                    </a:cubicBezTo>
                    <a:lnTo>
                      <a:pt x="94" y="0"/>
                    </a:lnTo>
                    <a:close/>
                  </a:path>
                </a:pathLst>
              </a:custGeom>
              <a:solidFill>
                <a:srgbClr val="FA56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2" name="Freeform 56">
                <a:extLst>
                  <a:ext uri="{FF2B5EF4-FFF2-40B4-BE49-F238E27FC236}">
                    <a16:creationId xmlns:a16="http://schemas.microsoft.com/office/drawing/2014/main" id="{97B7D2A6-F712-93C4-A396-6C6897C36A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73863" y="831851"/>
                <a:ext cx="771525" cy="579438"/>
              </a:xfrm>
              <a:custGeom>
                <a:avLst/>
                <a:gdLst>
                  <a:gd name="T0" fmla="*/ 204 w 204"/>
                  <a:gd name="T1" fmla="*/ 134 h 153"/>
                  <a:gd name="T2" fmla="*/ 185 w 204"/>
                  <a:gd name="T3" fmla="*/ 153 h 153"/>
                  <a:gd name="T4" fmla="*/ 19 w 204"/>
                  <a:gd name="T5" fmla="*/ 153 h 153"/>
                  <a:gd name="T6" fmla="*/ 0 w 204"/>
                  <a:gd name="T7" fmla="*/ 134 h 153"/>
                  <a:gd name="T8" fmla="*/ 0 w 204"/>
                  <a:gd name="T9" fmla="*/ 0 h 153"/>
                  <a:gd name="T10" fmla="*/ 204 w 204"/>
                  <a:gd name="T11" fmla="*/ 0 h 153"/>
                  <a:gd name="T12" fmla="*/ 204 w 204"/>
                  <a:gd name="T13" fmla="*/ 134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53">
                    <a:moveTo>
                      <a:pt x="204" y="134"/>
                    </a:moveTo>
                    <a:cubicBezTo>
                      <a:pt x="204" y="145"/>
                      <a:pt x="196" y="153"/>
                      <a:pt x="185" y="153"/>
                    </a:cubicBezTo>
                    <a:cubicBezTo>
                      <a:pt x="19" y="153"/>
                      <a:pt x="19" y="153"/>
                      <a:pt x="19" y="153"/>
                    </a:cubicBezTo>
                    <a:cubicBezTo>
                      <a:pt x="8" y="153"/>
                      <a:pt x="0" y="145"/>
                      <a:pt x="0" y="13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04" y="0"/>
                      <a:pt x="204" y="0"/>
                      <a:pt x="204" y="0"/>
                    </a:cubicBezTo>
                    <a:lnTo>
                      <a:pt x="204" y="13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3" name="Rectangle 57">
                <a:extLst>
                  <a:ext uri="{FF2B5EF4-FFF2-40B4-BE49-F238E27FC236}">
                    <a16:creationId xmlns:a16="http://schemas.microsoft.com/office/drawing/2014/main" id="{9AAB2837-0538-4CA8-7281-362CD01B3E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38976" y="927101"/>
                <a:ext cx="120650" cy="109538"/>
              </a:xfrm>
              <a:prstGeom prst="rect">
                <a:avLst/>
              </a:prstGeom>
              <a:solidFill>
                <a:srgbClr val="40C9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4" name="Rectangle 58">
                <a:extLst>
                  <a:ext uri="{FF2B5EF4-FFF2-40B4-BE49-F238E27FC236}">
                    <a16:creationId xmlns:a16="http://schemas.microsoft.com/office/drawing/2014/main" id="{E554DD74-B78B-FB28-F57B-11C7275B07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27863" y="1063626"/>
                <a:ext cx="120650" cy="104775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5" name="Rectangle 59">
                <a:extLst>
                  <a:ext uri="{FF2B5EF4-FFF2-40B4-BE49-F238E27FC236}">
                    <a16:creationId xmlns:a16="http://schemas.microsoft.com/office/drawing/2014/main" id="{5472C4A9-3314-DEF2-7678-C15121211B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0738" y="1063626"/>
                <a:ext cx="122238" cy="104775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6" name="Rectangle 60">
                <a:extLst>
                  <a:ext uri="{FF2B5EF4-FFF2-40B4-BE49-F238E27FC236}">
                    <a16:creationId xmlns:a16="http://schemas.microsoft.com/office/drawing/2014/main" id="{A8B23927-3E0C-BA90-3B85-9DC543F031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69113" y="927101"/>
                <a:ext cx="131763" cy="109538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7" name="Rectangle 61">
                <a:extLst>
                  <a:ext uri="{FF2B5EF4-FFF2-40B4-BE49-F238E27FC236}">
                    <a16:creationId xmlns:a16="http://schemas.microsoft.com/office/drawing/2014/main" id="{E8C34FE9-9932-4526-AB09-8642334A0E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0738" y="927101"/>
                <a:ext cx="122238" cy="109538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8" name="Rectangle 62">
                <a:extLst>
                  <a:ext uri="{FF2B5EF4-FFF2-40B4-BE49-F238E27FC236}">
                    <a16:creationId xmlns:a16="http://schemas.microsoft.com/office/drawing/2014/main" id="{72049148-93AD-E35E-29F8-793A216AF9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0738" y="1195388"/>
                <a:ext cx="122238" cy="120650"/>
              </a:xfrm>
              <a:prstGeom prst="rect">
                <a:avLst/>
              </a:prstGeom>
              <a:solidFill>
                <a:srgbClr val="40C9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9" name="Rectangle 63">
                <a:extLst>
                  <a:ext uri="{FF2B5EF4-FFF2-40B4-BE49-F238E27FC236}">
                    <a16:creationId xmlns:a16="http://schemas.microsoft.com/office/drawing/2014/main" id="{A2DACD6A-9953-7E8C-B27A-C43A9A68F3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18376" y="1063626"/>
                <a:ext cx="120650" cy="104775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0" name="Rectangle 64">
                <a:extLst>
                  <a:ext uri="{FF2B5EF4-FFF2-40B4-BE49-F238E27FC236}">
                    <a16:creationId xmlns:a16="http://schemas.microsoft.com/office/drawing/2014/main" id="{9AB09F63-EEA3-6C18-FE5C-B01E5B8E67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18376" y="927101"/>
                <a:ext cx="120650" cy="109538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1" name="Rectangle 65">
                <a:extLst>
                  <a:ext uri="{FF2B5EF4-FFF2-40B4-BE49-F238E27FC236}">
                    <a16:creationId xmlns:a16="http://schemas.microsoft.com/office/drawing/2014/main" id="{1C717480-1896-E268-B2FE-918018F16C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18376" y="1195388"/>
                <a:ext cx="120650" cy="120650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2" name="Rectangle 66">
                <a:extLst>
                  <a:ext uri="{FF2B5EF4-FFF2-40B4-BE49-F238E27FC236}">
                    <a16:creationId xmlns:a16="http://schemas.microsoft.com/office/drawing/2014/main" id="{3AF85582-ADA3-5AE1-12E3-D2DE399931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69113" y="1063626"/>
                <a:ext cx="131763" cy="104775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3" name="Rectangle 67">
                <a:extLst>
                  <a:ext uri="{FF2B5EF4-FFF2-40B4-BE49-F238E27FC236}">
                    <a16:creationId xmlns:a16="http://schemas.microsoft.com/office/drawing/2014/main" id="{7AA6BC08-875F-68CA-FBAA-4628E02CF5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69113" y="1195388"/>
                <a:ext cx="131763" cy="120650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4" name="Rectangle 68">
                <a:extLst>
                  <a:ext uri="{FF2B5EF4-FFF2-40B4-BE49-F238E27FC236}">
                    <a16:creationId xmlns:a16="http://schemas.microsoft.com/office/drawing/2014/main" id="{F6C51207-39C7-1B17-2E5B-B4A5BF5BEA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27863" y="1195388"/>
                <a:ext cx="120650" cy="120650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5" name="Freeform 69">
                <a:extLst>
                  <a:ext uri="{FF2B5EF4-FFF2-40B4-BE49-F238E27FC236}">
                    <a16:creationId xmlns:a16="http://schemas.microsoft.com/office/drawing/2014/main" id="{DA631E0E-3EB6-3022-A547-27A8E9E081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69113" y="639763"/>
                <a:ext cx="71438" cy="142875"/>
              </a:xfrm>
              <a:custGeom>
                <a:avLst/>
                <a:gdLst>
                  <a:gd name="T0" fmla="*/ 19 w 19"/>
                  <a:gd name="T1" fmla="*/ 28 h 38"/>
                  <a:gd name="T2" fmla="*/ 10 w 19"/>
                  <a:gd name="T3" fmla="*/ 38 h 38"/>
                  <a:gd name="T4" fmla="*/ 0 w 19"/>
                  <a:gd name="T5" fmla="*/ 28 h 38"/>
                  <a:gd name="T6" fmla="*/ 0 w 19"/>
                  <a:gd name="T7" fmla="*/ 9 h 38"/>
                  <a:gd name="T8" fmla="*/ 10 w 19"/>
                  <a:gd name="T9" fmla="*/ 0 h 38"/>
                  <a:gd name="T10" fmla="*/ 19 w 19"/>
                  <a:gd name="T11" fmla="*/ 9 h 38"/>
                  <a:gd name="T12" fmla="*/ 19 w 19"/>
                  <a:gd name="T13" fmla="*/ 2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38">
                    <a:moveTo>
                      <a:pt x="19" y="28"/>
                    </a:moveTo>
                    <a:cubicBezTo>
                      <a:pt x="19" y="34"/>
                      <a:pt x="15" y="38"/>
                      <a:pt x="10" y="38"/>
                    </a:cubicBezTo>
                    <a:cubicBezTo>
                      <a:pt x="5" y="38"/>
                      <a:pt x="0" y="34"/>
                      <a:pt x="0" y="2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4"/>
                      <a:pt x="5" y="0"/>
                      <a:pt x="10" y="0"/>
                    </a:cubicBezTo>
                    <a:cubicBezTo>
                      <a:pt x="15" y="0"/>
                      <a:pt x="19" y="4"/>
                      <a:pt x="19" y="9"/>
                    </a:cubicBezTo>
                    <a:lnTo>
                      <a:pt x="19" y="28"/>
                    </a:ln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6" name="Freeform 70">
                <a:extLst>
                  <a:ext uri="{FF2B5EF4-FFF2-40B4-BE49-F238E27FC236}">
                    <a16:creationId xmlns:a16="http://schemas.microsoft.com/office/drawing/2014/main" id="{05369B66-5C24-D858-CD2B-1C1146DE37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78701" y="639763"/>
                <a:ext cx="73025" cy="142875"/>
              </a:xfrm>
              <a:custGeom>
                <a:avLst/>
                <a:gdLst>
                  <a:gd name="T0" fmla="*/ 19 w 19"/>
                  <a:gd name="T1" fmla="*/ 28 h 38"/>
                  <a:gd name="T2" fmla="*/ 9 w 19"/>
                  <a:gd name="T3" fmla="*/ 38 h 38"/>
                  <a:gd name="T4" fmla="*/ 0 w 19"/>
                  <a:gd name="T5" fmla="*/ 28 h 38"/>
                  <a:gd name="T6" fmla="*/ 0 w 19"/>
                  <a:gd name="T7" fmla="*/ 9 h 38"/>
                  <a:gd name="T8" fmla="*/ 9 w 19"/>
                  <a:gd name="T9" fmla="*/ 0 h 38"/>
                  <a:gd name="T10" fmla="*/ 19 w 19"/>
                  <a:gd name="T11" fmla="*/ 9 h 38"/>
                  <a:gd name="T12" fmla="*/ 19 w 19"/>
                  <a:gd name="T13" fmla="*/ 2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38">
                    <a:moveTo>
                      <a:pt x="19" y="28"/>
                    </a:moveTo>
                    <a:cubicBezTo>
                      <a:pt x="19" y="34"/>
                      <a:pt x="14" y="38"/>
                      <a:pt x="9" y="38"/>
                    </a:cubicBezTo>
                    <a:cubicBezTo>
                      <a:pt x="4" y="38"/>
                      <a:pt x="0" y="34"/>
                      <a:pt x="0" y="2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4"/>
                      <a:pt x="4" y="0"/>
                      <a:pt x="9" y="0"/>
                    </a:cubicBezTo>
                    <a:cubicBezTo>
                      <a:pt x="14" y="0"/>
                      <a:pt x="19" y="4"/>
                      <a:pt x="19" y="9"/>
                    </a:cubicBezTo>
                    <a:lnTo>
                      <a:pt x="19" y="28"/>
                    </a:ln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7" name="Freeform 71">
                <a:extLst>
                  <a:ext uri="{FF2B5EF4-FFF2-40B4-BE49-F238E27FC236}">
                    <a16:creationId xmlns:a16="http://schemas.microsoft.com/office/drawing/2014/main" id="{3994FAE4-6FCC-35BD-05A7-2DDC50DA0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21526" y="639763"/>
                <a:ext cx="76200" cy="142875"/>
              </a:xfrm>
              <a:custGeom>
                <a:avLst/>
                <a:gdLst>
                  <a:gd name="T0" fmla="*/ 20 w 20"/>
                  <a:gd name="T1" fmla="*/ 28 h 38"/>
                  <a:gd name="T2" fmla="*/ 10 w 20"/>
                  <a:gd name="T3" fmla="*/ 38 h 38"/>
                  <a:gd name="T4" fmla="*/ 0 w 20"/>
                  <a:gd name="T5" fmla="*/ 28 h 38"/>
                  <a:gd name="T6" fmla="*/ 0 w 20"/>
                  <a:gd name="T7" fmla="*/ 9 h 38"/>
                  <a:gd name="T8" fmla="*/ 10 w 20"/>
                  <a:gd name="T9" fmla="*/ 0 h 38"/>
                  <a:gd name="T10" fmla="*/ 20 w 20"/>
                  <a:gd name="T11" fmla="*/ 9 h 38"/>
                  <a:gd name="T12" fmla="*/ 20 w 20"/>
                  <a:gd name="T13" fmla="*/ 2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38">
                    <a:moveTo>
                      <a:pt x="20" y="28"/>
                    </a:moveTo>
                    <a:cubicBezTo>
                      <a:pt x="20" y="34"/>
                      <a:pt x="15" y="38"/>
                      <a:pt x="10" y="38"/>
                    </a:cubicBezTo>
                    <a:cubicBezTo>
                      <a:pt x="5" y="38"/>
                      <a:pt x="0" y="34"/>
                      <a:pt x="0" y="2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4"/>
                      <a:pt x="5" y="0"/>
                      <a:pt x="10" y="0"/>
                    </a:cubicBezTo>
                    <a:cubicBezTo>
                      <a:pt x="15" y="0"/>
                      <a:pt x="20" y="4"/>
                      <a:pt x="20" y="9"/>
                    </a:cubicBezTo>
                    <a:lnTo>
                      <a:pt x="20" y="28"/>
                    </a:ln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pic>
        <p:nvPicPr>
          <p:cNvPr id="3074" name="Picture 2">
            <a:extLst>
              <a:ext uri="{FF2B5EF4-FFF2-40B4-BE49-F238E27FC236}">
                <a16:creationId xmlns:a16="http://schemas.microsoft.com/office/drawing/2014/main" id="{4121E792-6E9C-7E3E-2924-F3B9F4387A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9287" y="2390755"/>
            <a:ext cx="733425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DC55D861-7F4B-70B4-1C51-F32D3DFB8F7F}"/>
              </a:ext>
            </a:extLst>
          </p:cNvPr>
          <p:cNvGrpSpPr/>
          <p:nvPr/>
        </p:nvGrpSpPr>
        <p:grpSpPr>
          <a:xfrm>
            <a:off x="9506124" y="2487092"/>
            <a:ext cx="663402" cy="645525"/>
            <a:chOff x="10369550" y="5518150"/>
            <a:chExt cx="779463" cy="779463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5" name="Freeform 231">
              <a:extLst>
                <a:ext uri="{FF2B5EF4-FFF2-40B4-BE49-F238E27FC236}">
                  <a16:creationId xmlns:a16="http://schemas.microsoft.com/office/drawing/2014/main" id="{85A83BC8-E841-AB73-5397-C71D8B20C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9550" y="5956300"/>
              <a:ext cx="336550" cy="341313"/>
            </a:xfrm>
            <a:custGeom>
              <a:avLst/>
              <a:gdLst>
                <a:gd name="T0" fmla="*/ 89 w 89"/>
                <a:gd name="T1" fmla="*/ 26 h 90"/>
                <a:gd name="T2" fmla="*/ 33 w 89"/>
                <a:gd name="T3" fmla="*/ 83 h 90"/>
                <a:gd name="T4" fmla="*/ 7 w 89"/>
                <a:gd name="T5" fmla="*/ 83 h 90"/>
                <a:gd name="T6" fmla="*/ 7 w 89"/>
                <a:gd name="T7" fmla="*/ 57 h 90"/>
                <a:gd name="T8" fmla="*/ 64 w 89"/>
                <a:gd name="T9" fmla="*/ 0 h 90"/>
                <a:gd name="T10" fmla="*/ 89 w 89"/>
                <a:gd name="T11" fmla="*/ 2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90">
                  <a:moveTo>
                    <a:pt x="89" y="26"/>
                  </a:moveTo>
                  <a:cubicBezTo>
                    <a:pt x="33" y="83"/>
                    <a:pt x="33" y="83"/>
                    <a:pt x="33" y="83"/>
                  </a:cubicBezTo>
                  <a:cubicBezTo>
                    <a:pt x="25" y="90"/>
                    <a:pt x="14" y="90"/>
                    <a:pt x="7" y="83"/>
                  </a:cubicBezTo>
                  <a:cubicBezTo>
                    <a:pt x="0" y="75"/>
                    <a:pt x="0" y="64"/>
                    <a:pt x="7" y="5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0" y="11"/>
                    <a:pt x="79" y="19"/>
                    <a:pt x="89" y="26"/>
                  </a:cubicBezTo>
                  <a:close/>
                </a:path>
              </a:pathLst>
            </a:custGeom>
            <a:solidFill>
              <a:srgbClr val="8446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" name="Freeform 232">
              <a:extLst>
                <a:ext uri="{FF2B5EF4-FFF2-40B4-BE49-F238E27FC236}">
                  <a16:creationId xmlns:a16="http://schemas.microsoft.com/office/drawing/2014/main" id="{F358C8B6-BE0E-A206-EC7A-6291C561F1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9550" y="5956300"/>
              <a:ext cx="284163" cy="311150"/>
            </a:xfrm>
            <a:custGeom>
              <a:avLst/>
              <a:gdLst>
                <a:gd name="T0" fmla="*/ 75 w 75"/>
                <a:gd name="T1" fmla="*/ 14 h 82"/>
                <a:gd name="T2" fmla="*/ 7 w 75"/>
                <a:gd name="T3" fmla="*/ 82 h 82"/>
                <a:gd name="T4" fmla="*/ 7 w 75"/>
                <a:gd name="T5" fmla="*/ 57 h 82"/>
                <a:gd name="T6" fmla="*/ 64 w 75"/>
                <a:gd name="T7" fmla="*/ 0 h 82"/>
                <a:gd name="T8" fmla="*/ 75 w 75"/>
                <a:gd name="T9" fmla="*/ 1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82">
                  <a:moveTo>
                    <a:pt x="75" y="14"/>
                  </a:moveTo>
                  <a:cubicBezTo>
                    <a:pt x="7" y="82"/>
                    <a:pt x="7" y="82"/>
                    <a:pt x="7" y="82"/>
                  </a:cubicBezTo>
                  <a:cubicBezTo>
                    <a:pt x="0" y="75"/>
                    <a:pt x="0" y="64"/>
                    <a:pt x="7" y="5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7" y="5"/>
                    <a:pt x="71" y="10"/>
                    <a:pt x="75" y="14"/>
                  </a:cubicBezTo>
                  <a:close/>
                </a:path>
              </a:pathLst>
            </a:custGeom>
            <a:solidFill>
              <a:srgbClr val="9C6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" name="Freeform 233">
              <a:extLst>
                <a:ext uri="{FF2B5EF4-FFF2-40B4-BE49-F238E27FC236}">
                  <a16:creationId xmlns:a16="http://schemas.microsoft.com/office/drawing/2014/main" id="{5A1D3B53-84C9-538E-B8C0-372214414B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9575" y="5518150"/>
              <a:ext cx="579438" cy="577850"/>
            </a:xfrm>
            <a:custGeom>
              <a:avLst/>
              <a:gdLst>
                <a:gd name="T0" fmla="*/ 153 w 153"/>
                <a:gd name="T1" fmla="*/ 76 h 153"/>
                <a:gd name="T2" fmla="*/ 77 w 153"/>
                <a:gd name="T3" fmla="*/ 153 h 153"/>
                <a:gd name="T4" fmla="*/ 0 w 153"/>
                <a:gd name="T5" fmla="*/ 76 h 153"/>
                <a:gd name="T6" fmla="*/ 77 w 153"/>
                <a:gd name="T7" fmla="*/ 0 h 153"/>
                <a:gd name="T8" fmla="*/ 153 w 153"/>
                <a:gd name="T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cubicBezTo>
                    <a:pt x="153" y="119"/>
                    <a:pt x="119" y="153"/>
                    <a:pt x="77" y="153"/>
                  </a:cubicBezTo>
                  <a:cubicBezTo>
                    <a:pt x="34" y="153"/>
                    <a:pt x="0" y="118"/>
                    <a:pt x="0" y="76"/>
                  </a:cubicBezTo>
                  <a:cubicBezTo>
                    <a:pt x="0" y="34"/>
                    <a:pt x="34" y="0"/>
                    <a:pt x="77" y="0"/>
                  </a:cubicBezTo>
                  <a:cubicBezTo>
                    <a:pt x="119" y="0"/>
                    <a:pt x="153" y="34"/>
                    <a:pt x="153" y="76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" name="Oval 234">
              <a:extLst>
                <a:ext uri="{FF2B5EF4-FFF2-40B4-BE49-F238E27FC236}">
                  <a16:creationId xmlns:a16="http://schemas.microsoft.com/office/drawing/2014/main" id="{690020CC-4A78-22F4-4301-70BD51944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29900" y="5578475"/>
              <a:ext cx="458788" cy="457200"/>
            </a:xfrm>
            <a:prstGeom prst="ellipse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Freeform 235">
              <a:extLst>
                <a:ext uri="{FF2B5EF4-FFF2-40B4-BE49-F238E27FC236}">
                  <a16:creationId xmlns:a16="http://schemas.microsoft.com/office/drawing/2014/main" id="{0F0A0849-E8AD-1E41-699D-77267D6CA3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9900" y="5578475"/>
              <a:ext cx="390525" cy="388938"/>
            </a:xfrm>
            <a:custGeom>
              <a:avLst/>
              <a:gdLst>
                <a:gd name="T0" fmla="*/ 0 w 103"/>
                <a:gd name="T1" fmla="*/ 60 h 103"/>
                <a:gd name="T2" fmla="*/ 61 w 103"/>
                <a:gd name="T3" fmla="*/ 0 h 103"/>
                <a:gd name="T4" fmla="*/ 103 w 103"/>
                <a:gd name="T5" fmla="*/ 17 h 103"/>
                <a:gd name="T6" fmla="*/ 17 w 103"/>
                <a:gd name="T7" fmla="*/ 103 h 103"/>
                <a:gd name="T8" fmla="*/ 0 w 103"/>
                <a:gd name="T9" fmla="*/ 6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103">
                  <a:moveTo>
                    <a:pt x="0" y="60"/>
                  </a:moveTo>
                  <a:cubicBezTo>
                    <a:pt x="0" y="27"/>
                    <a:pt x="27" y="0"/>
                    <a:pt x="61" y="0"/>
                  </a:cubicBezTo>
                  <a:cubicBezTo>
                    <a:pt x="77" y="0"/>
                    <a:pt x="92" y="6"/>
                    <a:pt x="103" y="17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6" y="92"/>
                    <a:pt x="0" y="77"/>
                    <a:pt x="0" y="60"/>
                  </a:cubicBezTo>
                  <a:close/>
                </a:path>
              </a:pathLst>
            </a:custGeom>
            <a:solidFill>
              <a:srgbClr val="6F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10327043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E15372F-A310-4894-8B2B-1A1EE82FEA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E15372F-A310-4894-8B2B-1A1EE82FEA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3E364BE8-496B-4633-BEC3-0A40D71E80E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87" name="Freeform: Shape 86">
            <a:extLst>
              <a:ext uri="{FF2B5EF4-FFF2-40B4-BE49-F238E27FC236}">
                <a16:creationId xmlns:a16="http://schemas.microsoft.com/office/drawing/2014/main" id="{349FD3F9-DC84-4A73-BED3-A236F8E0C2C6}"/>
              </a:ext>
            </a:extLst>
          </p:cNvPr>
          <p:cNvSpPr/>
          <p:nvPr/>
        </p:nvSpPr>
        <p:spPr>
          <a:xfrm rot="10800000" flipV="1">
            <a:off x="-19967" y="2630437"/>
            <a:ext cx="694731" cy="464457"/>
          </a:xfrm>
          <a:custGeom>
            <a:avLst/>
            <a:gdLst>
              <a:gd name="connsiteX0" fmla="*/ 694731 w 694731"/>
              <a:gd name="connsiteY0" fmla="*/ 0 h 464457"/>
              <a:gd name="connsiteX1" fmla="*/ 451057 w 694731"/>
              <a:gd name="connsiteY1" fmla="*/ 0 h 464457"/>
              <a:gd name="connsiteX2" fmla="*/ 451057 w 694731"/>
              <a:gd name="connsiteY2" fmla="*/ 111250 h 464457"/>
              <a:gd name="connsiteX3" fmla="*/ 255423 w 694731"/>
              <a:gd name="connsiteY3" fmla="*/ 111250 h 464457"/>
              <a:gd name="connsiteX4" fmla="*/ 255423 w 694731"/>
              <a:gd name="connsiteY4" fmla="*/ 0 h 464457"/>
              <a:gd name="connsiteX5" fmla="*/ 0 w 694731"/>
              <a:gd name="connsiteY5" fmla="*/ 0 h 464457"/>
              <a:gd name="connsiteX6" fmla="*/ 0 w 694731"/>
              <a:gd name="connsiteY6" fmla="*/ 464457 h 464457"/>
              <a:gd name="connsiteX7" fmla="*/ 694731 w 694731"/>
              <a:gd name="connsiteY7" fmla="*/ 464457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4731" h="464457">
                <a:moveTo>
                  <a:pt x="694731" y="0"/>
                </a:moveTo>
                <a:lnTo>
                  <a:pt x="451057" y="0"/>
                </a:lnTo>
                <a:lnTo>
                  <a:pt x="451057" y="111250"/>
                </a:lnTo>
                <a:lnTo>
                  <a:pt x="255423" y="111250"/>
                </a:lnTo>
                <a:lnTo>
                  <a:pt x="255423" y="0"/>
                </a:lnTo>
                <a:lnTo>
                  <a:pt x="0" y="0"/>
                </a:lnTo>
                <a:lnTo>
                  <a:pt x="0" y="464457"/>
                </a:lnTo>
                <a:lnTo>
                  <a:pt x="694731" y="46445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80" name="任意多边形: 形状 16">
            <a:extLst>
              <a:ext uri="{FF2B5EF4-FFF2-40B4-BE49-F238E27FC236}">
                <a16:creationId xmlns:a16="http://schemas.microsoft.com/office/drawing/2014/main" id="{0FEFBEE3-7AF0-490D-BB53-6BBF98A961CF}"/>
              </a:ext>
            </a:extLst>
          </p:cNvPr>
          <p:cNvSpPr/>
          <p:nvPr/>
        </p:nvSpPr>
        <p:spPr>
          <a:xfrm rot="10800000" flipV="1">
            <a:off x="5765429" y="2626495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任意多边形: 形状 16">
            <a:extLst>
              <a:ext uri="{FF2B5EF4-FFF2-40B4-BE49-F238E27FC236}">
                <a16:creationId xmlns:a16="http://schemas.microsoft.com/office/drawing/2014/main" id="{6B631B2A-1690-4EE2-B011-3F13865E13EE}"/>
              </a:ext>
            </a:extLst>
          </p:cNvPr>
          <p:cNvSpPr/>
          <p:nvPr/>
        </p:nvSpPr>
        <p:spPr>
          <a:xfrm rot="10800000" flipV="1">
            <a:off x="321120" y="2626495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2" name="任意多边形: 形状 16">
            <a:extLst>
              <a:ext uri="{FF2B5EF4-FFF2-40B4-BE49-F238E27FC236}">
                <a16:creationId xmlns:a16="http://schemas.microsoft.com/office/drawing/2014/main" id="{BE65E9F0-2838-4190-870F-2C6B35DDA60C}"/>
              </a:ext>
            </a:extLst>
          </p:cNvPr>
          <p:cNvSpPr/>
          <p:nvPr/>
        </p:nvSpPr>
        <p:spPr>
          <a:xfrm rot="10800000" flipV="1">
            <a:off x="3064074" y="2626495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3" name="任意多边形: 形状 16">
            <a:extLst>
              <a:ext uri="{FF2B5EF4-FFF2-40B4-BE49-F238E27FC236}">
                <a16:creationId xmlns:a16="http://schemas.microsoft.com/office/drawing/2014/main" id="{6B97B1F0-25B3-462E-88DF-8B2070379EEA}"/>
              </a:ext>
            </a:extLst>
          </p:cNvPr>
          <p:cNvSpPr/>
          <p:nvPr/>
        </p:nvSpPr>
        <p:spPr>
          <a:xfrm rot="10800000" flipV="1">
            <a:off x="8508629" y="2626495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9" name="Freeform: Shape 88">
            <a:extLst>
              <a:ext uri="{FF2B5EF4-FFF2-40B4-BE49-F238E27FC236}">
                <a16:creationId xmlns:a16="http://schemas.microsoft.com/office/drawing/2014/main" id="{E6ED7A61-6F78-4015-909C-D27BCC38227F}"/>
              </a:ext>
            </a:extLst>
          </p:cNvPr>
          <p:cNvSpPr/>
          <p:nvPr/>
        </p:nvSpPr>
        <p:spPr>
          <a:xfrm rot="10800000" flipV="1">
            <a:off x="11239954" y="2626495"/>
            <a:ext cx="946182" cy="464457"/>
          </a:xfrm>
          <a:custGeom>
            <a:avLst/>
            <a:gdLst>
              <a:gd name="connsiteX0" fmla="*/ 849135 w 946182"/>
              <a:gd name="connsiteY0" fmla="*/ 0 h 464457"/>
              <a:gd name="connsiteX1" fmla="*/ 587352 w 946182"/>
              <a:gd name="connsiteY1" fmla="*/ 0 h 464457"/>
              <a:gd name="connsiteX2" fmla="*/ 587352 w 946182"/>
              <a:gd name="connsiteY2" fmla="*/ 111250 h 464457"/>
              <a:gd name="connsiteX3" fmla="*/ 391718 w 946182"/>
              <a:gd name="connsiteY3" fmla="*/ 111250 h 464457"/>
              <a:gd name="connsiteX4" fmla="*/ 391718 w 946182"/>
              <a:gd name="connsiteY4" fmla="*/ 0 h 464457"/>
              <a:gd name="connsiteX5" fmla="*/ 129937 w 946182"/>
              <a:gd name="connsiteY5" fmla="*/ 0 h 464457"/>
              <a:gd name="connsiteX6" fmla="*/ 129937 w 946182"/>
              <a:gd name="connsiteY6" fmla="*/ 111250 h 464457"/>
              <a:gd name="connsiteX7" fmla="*/ 0 w 946182"/>
              <a:gd name="connsiteY7" fmla="*/ 111250 h 464457"/>
              <a:gd name="connsiteX8" fmla="*/ 0 w 946182"/>
              <a:gd name="connsiteY8" fmla="*/ 464457 h 464457"/>
              <a:gd name="connsiteX9" fmla="*/ 946182 w 946182"/>
              <a:gd name="connsiteY9" fmla="*/ 464457 h 464457"/>
              <a:gd name="connsiteX10" fmla="*/ 946182 w 946182"/>
              <a:gd name="connsiteY10" fmla="*/ 111250 h 464457"/>
              <a:gd name="connsiteX11" fmla="*/ 849135 w 946182"/>
              <a:gd name="connsiteY11" fmla="*/ 111250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46182" h="464457">
                <a:moveTo>
                  <a:pt x="849135" y="0"/>
                </a:moveTo>
                <a:lnTo>
                  <a:pt x="587352" y="0"/>
                </a:lnTo>
                <a:lnTo>
                  <a:pt x="587352" y="111250"/>
                </a:lnTo>
                <a:lnTo>
                  <a:pt x="391718" y="111250"/>
                </a:lnTo>
                <a:lnTo>
                  <a:pt x="391718" y="0"/>
                </a:lnTo>
                <a:lnTo>
                  <a:pt x="129937" y="0"/>
                </a:lnTo>
                <a:lnTo>
                  <a:pt x="129937" y="111250"/>
                </a:lnTo>
                <a:lnTo>
                  <a:pt x="0" y="111250"/>
                </a:lnTo>
                <a:lnTo>
                  <a:pt x="0" y="464457"/>
                </a:lnTo>
                <a:lnTo>
                  <a:pt x="946182" y="464457"/>
                </a:lnTo>
                <a:lnTo>
                  <a:pt x="946182" y="111250"/>
                </a:lnTo>
                <a:lnTo>
                  <a:pt x="849135" y="11125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78" name="任意多边形: 形状 16">
            <a:extLst>
              <a:ext uri="{FF2B5EF4-FFF2-40B4-BE49-F238E27FC236}">
                <a16:creationId xmlns:a16="http://schemas.microsoft.com/office/drawing/2014/main" id="{A6E7D73F-7439-4315-BC15-E9F21A50B59A}"/>
              </a:ext>
            </a:extLst>
          </p:cNvPr>
          <p:cNvSpPr/>
          <p:nvPr/>
        </p:nvSpPr>
        <p:spPr>
          <a:xfrm rot="10800000" flipV="1">
            <a:off x="5444309" y="281650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Rectángulo 6175">
            <a:extLst>
              <a:ext uri="{FF2B5EF4-FFF2-40B4-BE49-F238E27FC236}">
                <a16:creationId xmlns:a16="http://schemas.microsoft.com/office/drawing/2014/main" id="{3E1C264C-AB4A-4713-BD6B-ABBAC94717DB}"/>
              </a:ext>
            </a:extLst>
          </p:cNvPr>
          <p:cNvSpPr/>
          <p:nvPr/>
        </p:nvSpPr>
        <p:spPr>
          <a:xfrm flipV="1">
            <a:off x="0" y="3206461"/>
            <a:ext cx="12214702" cy="3651537"/>
          </a:xfrm>
          <a:prstGeom prst="rect">
            <a:avLst/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任意多边形: 形状 16">
            <a:extLst>
              <a:ext uri="{FF2B5EF4-FFF2-40B4-BE49-F238E27FC236}">
                <a16:creationId xmlns:a16="http://schemas.microsoft.com/office/drawing/2014/main" id="{E5F8DEC1-17B5-4EAE-A7D1-EDBACCA3C167}"/>
              </a:ext>
            </a:extLst>
          </p:cNvPr>
          <p:cNvSpPr/>
          <p:nvPr/>
        </p:nvSpPr>
        <p:spPr>
          <a:xfrm rot="10800000" flipV="1">
            <a:off x="0" y="281650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A983584-8125-433F-B7FD-A6330AFCE3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241" y="365126"/>
            <a:ext cx="11063515" cy="991614"/>
          </a:xfrm>
        </p:spPr>
        <p:txBody>
          <a:bodyPr/>
          <a:lstStyle/>
          <a:p>
            <a:r>
              <a:rPr lang="da-DK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xpectations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3" name="任意多边形: 形状 16">
            <a:extLst>
              <a:ext uri="{FF2B5EF4-FFF2-40B4-BE49-F238E27FC236}">
                <a16:creationId xmlns:a16="http://schemas.microsoft.com/office/drawing/2014/main" id="{D086114E-AA56-48E5-9300-EECFF6CFCBA1}"/>
              </a:ext>
            </a:extLst>
          </p:cNvPr>
          <p:cNvSpPr/>
          <p:nvPr/>
        </p:nvSpPr>
        <p:spPr>
          <a:xfrm rot="10800000" flipV="1">
            <a:off x="2742954" y="281650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" name="任意多边形: 形状 16">
            <a:extLst>
              <a:ext uri="{FF2B5EF4-FFF2-40B4-BE49-F238E27FC236}">
                <a16:creationId xmlns:a16="http://schemas.microsoft.com/office/drawing/2014/main" id="{0C5C06E9-5DFB-42F6-9EF1-493697F0A768}"/>
              </a:ext>
            </a:extLst>
          </p:cNvPr>
          <p:cNvSpPr/>
          <p:nvPr/>
        </p:nvSpPr>
        <p:spPr>
          <a:xfrm rot="10800000" flipV="1">
            <a:off x="5441451" y="3125305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1" name="任意多边形: 形状 16">
            <a:extLst>
              <a:ext uri="{FF2B5EF4-FFF2-40B4-BE49-F238E27FC236}">
                <a16:creationId xmlns:a16="http://schemas.microsoft.com/office/drawing/2014/main" id="{08CDC0EC-4E2B-4A7D-B160-C8239387B211}"/>
              </a:ext>
            </a:extLst>
          </p:cNvPr>
          <p:cNvSpPr/>
          <p:nvPr/>
        </p:nvSpPr>
        <p:spPr>
          <a:xfrm rot="10800000" flipV="1">
            <a:off x="8187509" y="281650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48" name="Picture 47" descr="A picture containing toy, holding, hand, sitting&#10;&#10;Description automatically generated">
            <a:extLst>
              <a:ext uri="{FF2B5EF4-FFF2-40B4-BE49-F238E27FC236}">
                <a16:creationId xmlns:a16="http://schemas.microsoft.com/office/drawing/2014/main" id="{8342ADBD-F89A-4970-8BCA-BC2A5CC771C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15273" y="2366406"/>
            <a:ext cx="1423113" cy="1505673"/>
          </a:xfrm>
          <a:custGeom>
            <a:avLst/>
            <a:gdLst>
              <a:gd name="connsiteX0" fmla="*/ 0 w 2329921"/>
              <a:gd name="connsiteY0" fmla="*/ 0 h 2465089"/>
              <a:gd name="connsiteX1" fmla="*/ 2329921 w 2329921"/>
              <a:gd name="connsiteY1" fmla="*/ 0 h 2465089"/>
              <a:gd name="connsiteX2" fmla="*/ 2329921 w 2329921"/>
              <a:gd name="connsiteY2" fmla="*/ 2465089 h 2465089"/>
              <a:gd name="connsiteX3" fmla="*/ 1233769 w 2329921"/>
              <a:gd name="connsiteY3" fmla="*/ 2465089 h 2465089"/>
              <a:gd name="connsiteX4" fmla="*/ 1265313 w 2329921"/>
              <a:gd name="connsiteY4" fmla="*/ 2356487 h 2465089"/>
              <a:gd name="connsiteX5" fmla="*/ 573271 w 2329921"/>
              <a:gd name="connsiteY5" fmla="*/ 2155477 h 2465089"/>
              <a:gd name="connsiteX6" fmla="*/ 498157 w 2329921"/>
              <a:gd name="connsiteY6" fmla="*/ 2414081 h 2465089"/>
              <a:gd name="connsiteX7" fmla="*/ 673769 w 2329921"/>
              <a:gd name="connsiteY7" fmla="*/ 2465089 h 2465089"/>
              <a:gd name="connsiteX8" fmla="*/ 0 w 2329921"/>
              <a:gd name="connsiteY8" fmla="*/ 2465089 h 2465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29921" h="2465089">
                <a:moveTo>
                  <a:pt x="0" y="0"/>
                </a:moveTo>
                <a:lnTo>
                  <a:pt x="2329921" y="0"/>
                </a:lnTo>
                <a:lnTo>
                  <a:pt x="2329921" y="2465089"/>
                </a:lnTo>
                <a:lnTo>
                  <a:pt x="1233769" y="2465089"/>
                </a:lnTo>
                <a:lnTo>
                  <a:pt x="1265313" y="2356487"/>
                </a:lnTo>
                <a:lnTo>
                  <a:pt x="573271" y="2155477"/>
                </a:lnTo>
                <a:lnTo>
                  <a:pt x="498157" y="2414081"/>
                </a:lnTo>
                <a:lnTo>
                  <a:pt x="673769" y="2465089"/>
                </a:lnTo>
                <a:lnTo>
                  <a:pt x="0" y="2465089"/>
                </a:lnTo>
                <a:close/>
              </a:path>
            </a:pathLst>
          </a:custGeom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</p:pic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6079C9D7-A3FD-4FCE-943A-3611E02F6B6F}"/>
              </a:ext>
            </a:extLst>
          </p:cNvPr>
          <p:cNvSpPr/>
          <p:nvPr/>
        </p:nvSpPr>
        <p:spPr>
          <a:xfrm rot="10800000" flipV="1">
            <a:off x="10918834" y="2816501"/>
            <a:ext cx="1267302" cy="464457"/>
          </a:xfrm>
          <a:custGeom>
            <a:avLst/>
            <a:gdLst>
              <a:gd name="connsiteX0" fmla="*/ 1267302 w 1267302"/>
              <a:gd name="connsiteY0" fmla="*/ 464457 h 464457"/>
              <a:gd name="connsiteX1" fmla="*/ 0 w 1267302"/>
              <a:gd name="connsiteY1" fmla="*/ 464457 h 464457"/>
              <a:gd name="connsiteX2" fmla="*/ 0 w 1267302"/>
              <a:gd name="connsiteY2" fmla="*/ 0 h 464457"/>
              <a:gd name="connsiteX3" fmla="*/ 255423 w 1267302"/>
              <a:gd name="connsiteY3" fmla="*/ 0 h 464457"/>
              <a:gd name="connsiteX4" fmla="*/ 255423 w 1267302"/>
              <a:gd name="connsiteY4" fmla="*/ 111250 h 464457"/>
              <a:gd name="connsiteX5" fmla="*/ 451057 w 1267302"/>
              <a:gd name="connsiteY5" fmla="*/ 111250 h 464457"/>
              <a:gd name="connsiteX6" fmla="*/ 451057 w 1267302"/>
              <a:gd name="connsiteY6" fmla="*/ 0 h 464457"/>
              <a:gd name="connsiteX7" fmla="*/ 712838 w 1267302"/>
              <a:gd name="connsiteY7" fmla="*/ 0 h 464457"/>
              <a:gd name="connsiteX8" fmla="*/ 712838 w 1267302"/>
              <a:gd name="connsiteY8" fmla="*/ 111250 h 464457"/>
              <a:gd name="connsiteX9" fmla="*/ 908472 w 1267302"/>
              <a:gd name="connsiteY9" fmla="*/ 111250 h 464457"/>
              <a:gd name="connsiteX10" fmla="*/ 908472 w 1267302"/>
              <a:gd name="connsiteY10" fmla="*/ 0 h 464457"/>
              <a:gd name="connsiteX11" fmla="*/ 1170255 w 1267302"/>
              <a:gd name="connsiteY11" fmla="*/ 0 h 464457"/>
              <a:gd name="connsiteX12" fmla="*/ 1170255 w 1267302"/>
              <a:gd name="connsiteY12" fmla="*/ 111250 h 464457"/>
              <a:gd name="connsiteX13" fmla="*/ 1267302 w 1267302"/>
              <a:gd name="connsiteY13" fmla="*/ 111250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67302" h="464457">
                <a:moveTo>
                  <a:pt x="1267302" y="464457"/>
                </a:moveTo>
                <a:lnTo>
                  <a:pt x="0" y="464457"/>
                </a:lnTo>
                <a:lnTo>
                  <a:pt x="0" y="0"/>
                </a:lnTo>
                <a:lnTo>
                  <a:pt x="255423" y="0"/>
                </a:lnTo>
                <a:lnTo>
                  <a:pt x="255423" y="111250"/>
                </a:lnTo>
                <a:lnTo>
                  <a:pt x="451057" y="111250"/>
                </a:lnTo>
                <a:lnTo>
                  <a:pt x="451057" y="0"/>
                </a:lnTo>
                <a:lnTo>
                  <a:pt x="712838" y="0"/>
                </a:lnTo>
                <a:lnTo>
                  <a:pt x="712838" y="111250"/>
                </a:lnTo>
                <a:lnTo>
                  <a:pt x="908472" y="111250"/>
                </a:lnTo>
                <a:lnTo>
                  <a:pt x="908472" y="0"/>
                </a:lnTo>
                <a:lnTo>
                  <a:pt x="1170255" y="0"/>
                </a:lnTo>
                <a:lnTo>
                  <a:pt x="1170255" y="111250"/>
                </a:lnTo>
                <a:lnTo>
                  <a:pt x="1267302" y="111250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7DBC5290-C9F3-4341-B952-571D46EC029F}"/>
              </a:ext>
            </a:extLst>
          </p:cNvPr>
          <p:cNvSpPr/>
          <p:nvPr/>
        </p:nvSpPr>
        <p:spPr>
          <a:xfrm>
            <a:off x="4258541" y="1606206"/>
            <a:ext cx="3674916" cy="3674916"/>
          </a:xfrm>
          <a:prstGeom prst="ellipse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301C1E10-D9D8-47B6-BFB9-7E68FF9363DF}"/>
              </a:ext>
            </a:extLst>
          </p:cNvPr>
          <p:cNvSpPr/>
          <p:nvPr/>
        </p:nvSpPr>
        <p:spPr>
          <a:xfrm>
            <a:off x="4417853" y="1765518"/>
            <a:ext cx="3356292" cy="3356292"/>
          </a:xfrm>
          <a:prstGeom prst="arc">
            <a:avLst>
              <a:gd name="adj1" fmla="val 13787735"/>
              <a:gd name="adj2" fmla="val 13601526"/>
            </a:avLst>
          </a:prstGeom>
          <a:ln>
            <a:solidFill>
              <a:schemeClr val="bg1"/>
            </a:solidFill>
            <a:prstDash val="lg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2FF4FB6E-5C3C-4DAB-A94B-F78575F74CC8}"/>
              </a:ext>
            </a:extLst>
          </p:cNvPr>
          <p:cNvSpPr/>
          <p:nvPr/>
        </p:nvSpPr>
        <p:spPr>
          <a:xfrm>
            <a:off x="4690913" y="1655472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A7BFD0E-B353-4B3D-B28B-5CD5F820D612}"/>
              </a:ext>
            </a:extLst>
          </p:cNvPr>
          <p:cNvSpPr/>
          <p:nvPr/>
        </p:nvSpPr>
        <p:spPr>
          <a:xfrm>
            <a:off x="4818168" y="1782727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36E732C1-2C67-4A83-94BE-81415B7B698F}"/>
              </a:ext>
            </a:extLst>
          </p:cNvPr>
          <p:cNvSpPr txBox="1">
            <a:spLocks/>
          </p:cNvSpPr>
          <p:nvPr/>
        </p:nvSpPr>
        <p:spPr>
          <a:xfrm>
            <a:off x="7664434" y="1782727"/>
            <a:ext cx="3852800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l examples are simplified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04949708-1650-46EE-9E1D-BBA238AAD0CE}"/>
              </a:ext>
            </a:extLst>
          </p:cNvPr>
          <p:cNvSpPr txBox="1">
            <a:spLocks/>
          </p:cNvSpPr>
          <p:nvPr/>
        </p:nvSpPr>
        <p:spPr>
          <a:xfrm>
            <a:off x="536924" y="1782727"/>
            <a:ext cx="4035558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at are the different applications of </a:t>
            </a:r>
            <a:r>
              <a:rPr lang="en-US" sz="16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aC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6C279A15-1654-4B6A-AE1D-361055EC0A68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E3DB4256-7448-4972-9F80-1BD157CBCA6E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Slide Number Placeholder 5">
            <a:extLst>
              <a:ext uri="{FF2B5EF4-FFF2-40B4-BE49-F238E27FC236}">
                <a16:creationId xmlns:a16="http://schemas.microsoft.com/office/drawing/2014/main" id="{A36D2C64-E862-41F9-852C-629BCA744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1BA15F9D-4331-4374-A364-C11B0541B759}"/>
              </a:ext>
            </a:extLst>
          </p:cNvPr>
          <p:cNvSpPr/>
          <p:nvPr/>
        </p:nvSpPr>
        <p:spPr>
          <a:xfrm>
            <a:off x="3919362" y="3042211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BF9B74F9-B214-4166-94BF-D78D47C49676}"/>
              </a:ext>
            </a:extLst>
          </p:cNvPr>
          <p:cNvSpPr/>
          <p:nvPr/>
        </p:nvSpPr>
        <p:spPr>
          <a:xfrm>
            <a:off x="4046617" y="3169466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8FFF07C2-0348-4664-8027-CF14908CCD17}"/>
              </a:ext>
            </a:extLst>
          </p:cNvPr>
          <p:cNvSpPr/>
          <p:nvPr/>
        </p:nvSpPr>
        <p:spPr>
          <a:xfrm>
            <a:off x="4690913" y="4485993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5A126409-DE66-464B-A320-867D50D33803}"/>
              </a:ext>
            </a:extLst>
          </p:cNvPr>
          <p:cNvSpPr/>
          <p:nvPr/>
        </p:nvSpPr>
        <p:spPr>
          <a:xfrm>
            <a:off x="4818168" y="4613248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1FC49095-8A1A-46E8-A6B5-3FC53F72A978}"/>
              </a:ext>
            </a:extLst>
          </p:cNvPr>
          <p:cNvSpPr/>
          <p:nvPr/>
        </p:nvSpPr>
        <p:spPr>
          <a:xfrm>
            <a:off x="6738060" y="1655472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542473E8-C861-4A32-9077-AB0C59822302}"/>
              </a:ext>
            </a:extLst>
          </p:cNvPr>
          <p:cNvSpPr/>
          <p:nvPr/>
        </p:nvSpPr>
        <p:spPr>
          <a:xfrm>
            <a:off x="6865315" y="1782727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D8986C12-DF18-4F74-AC7C-23AB1768DA3D}"/>
              </a:ext>
            </a:extLst>
          </p:cNvPr>
          <p:cNvSpPr/>
          <p:nvPr/>
        </p:nvSpPr>
        <p:spPr>
          <a:xfrm>
            <a:off x="6738060" y="4485993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60FB141A-431C-4C15-807E-E64F7BBDBEDF}"/>
              </a:ext>
            </a:extLst>
          </p:cNvPr>
          <p:cNvSpPr/>
          <p:nvPr/>
        </p:nvSpPr>
        <p:spPr>
          <a:xfrm>
            <a:off x="6865315" y="4613248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56F7454E-E007-40CE-B514-92E0964900AA}"/>
              </a:ext>
            </a:extLst>
          </p:cNvPr>
          <p:cNvSpPr/>
          <p:nvPr/>
        </p:nvSpPr>
        <p:spPr>
          <a:xfrm>
            <a:off x="7469730" y="3042211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53907421-8C19-4C67-A2E6-38A2FA0CEB3E}"/>
              </a:ext>
            </a:extLst>
          </p:cNvPr>
          <p:cNvSpPr/>
          <p:nvPr/>
        </p:nvSpPr>
        <p:spPr>
          <a:xfrm>
            <a:off x="7596985" y="3169466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8CB062A2-EF5E-4F6B-AEED-58A1A5EBE2BE}"/>
              </a:ext>
            </a:extLst>
          </p:cNvPr>
          <p:cNvSpPr txBox="1">
            <a:spLocks/>
          </p:cNvSpPr>
          <p:nvPr/>
        </p:nvSpPr>
        <p:spPr>
          <a:xfrm>
            <a:off x="8393175" y="3243227"/>
            <a:ext cx="2858408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~ N slides and ~ N demos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7295709-0295-482F-A07E-40FF05549F66}"/>
              </a:ext>
            </a:extLst>
          </p:cNvPr>
          <p:cNvSpPr txBox="1">
            <a:spLocks/>
          </p:cNvSpPr>
          <p:nvPr/>
        </p:nvSpPr>
        <p:spPr>
          <a:xfrm>
            <a:off x="5864" y="3243227"/>
            <a:ext cx="3785226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y organization size/model matters</a:t>
            </a:r>
          </a:p>
        </p:txBody>
      </p:sp>
      <p:sp>
        <p:nvSpPr>
          <p:cNvPr id="74" name="Title 1">
            <a:extLst>
              <a:ext uri="{FF2B5EF4-FFF2-40B4-BE49-F238E27FC236}">
                <a16:creationId xmlns:a16="http://schemas.microsoft.com/office/drawing/2014/main" id="{45B8D857-A9C5-4F00-B990-951D6E5A400A}"/>
              </a:ext>
            </a:extLst>
          </p:cNvPr>
          <p:cNvSpPr txBox="1">
            <a:spLocks/>
          </p:cNvSpPr>
          <p:nvPr/>
        </p:nvSpPr>
        <p:spPr>
          <a:xfrm>
            <a:off x="7664433" y="4695374"/>
            <a:ext cx="3144815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ased on stories in Azure</a:t>
            </a:r>
          </a:p>
        </p:txBody>
      </p:sp>
      <p:sp>
        <p:nvSpPr>
          <p:cNvPr id="75" name="Title 1">
            <a:extLst>
              <a:ext uri="{FF2B5EF4-FFF2-40B4-BE49-F238E27FC236}">
                <a16:creationId xmlns:a16="http://schemas.microsoft.com/office/drawing/2014/main" id="{D5935D29-AC8D-4F44-971A-8BC019DC40F3}"/>
              </a:ext>
            </a:extLst>
          </p:cNvPr>
          <p:cNvSpPr txBox="1">
            <a:spLocks/>
          </p:cNvSpPr>
          <p:nvPr/>
        </p:nvSpPr>
        <p:spPr>
          <a:xfrm>
            <a:off x="738593" y="4695374"/>
            <a:ext cx="3833888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y Azure Template Specs can help</a:t>
            </a:r>
          </a:p>
        </p:txBody>
      </p:sp>
      <p:sp>
        <p:nvSpPr>
          <p:cNvPr id="79" name="Title 1">
            <a:extLst>
              <a:ext uri="{FF2B5EF4-FFF2-40B4-BE49-F238E27FC236}">
                <a16:creationId xmlns:a16="http://schemas.microsoft.com/office/drawing/2014/main" id="{A08418F9-6F30-4C82-A2EB-3403D86EA3B9}"/>
              </a:ext>
            </a:extLst>
          </p:cNvPr>
          <p:cNvSpPr txBox="1">
            <a:spLocks/>
          </p:cNvSpPr>
          <p:nvPr/>
        </p:nvSpPr>
        <p:spPr>
          <a:xfrm>
            <a:off x="564241" y="5692731"/>
            <a:ext cx="11120213" cy="440230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at might work for one organization might not for others</a:t>
            </a: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A0FD2AE3-0CAB-4B12-A131-DD6D003F7B2F}"/>
              </a:ext>
            </a:extLst>
          </p:cNvPr>
          <p:cNvGrpSpPr/>
          <p:nvPr/>
        </p:nvGrpSpPr>
        <p:grpSpPr>
          <a:xfrm>
            <a:off x="4942108" y="4745144"/>
            <a:ext cx="300516" cy="284604"/>
            <a:chOff x="2805113" y="2247901"/>
            <a:chExt cx="779462" cy="738188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92" name="Freeform 78">
              <a:extLst>
                <a:ext uri="{FF2B5EF4-FFF2-40B4-BE49-F238E27FC236}">
                  <a16:creationId xmlns:a16="http://schemas.microsoft.com/office/drawing/2014/main" id="{3C3AC2C3-9006-44F3-B7A3-A69438083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6725" y="2247901"/>
              <a:ext cx="577850" cy="738188"/>
            </a:xfrm>
            <a:custGeom>
              <a:avLst/>
              <a:gdLst>
                <a:gd name="T0" fmla="*/ 115 w 153"/>
                <a:gd name="T1" fmla="*/ 0 h 195"/>
                <a:gd name="T2" fmla="*/ 6 w 153"/>
                <a:gd name="T3" fmla="*/ 0 h 195"/>
                <a:gd name="T4" fmla="*/ 0 w 153"/>
                <a:gd name="T5" fmla="*/ 7 h 195"/>
                <a:gd name="T6" fmla="*/ 0 w 153"/>
                <a:gd name="T7" fmla="*/ 195 h 195"/>
                <a:gd name="T8" fmla="*/ 153 w 153"/>
                <a:gd name="T9" fmla="*/ 195 h 195"/>
                <a:gd name="T10" fmla="*/ 153 w 153"/>
                <a:gd name="T11" fmla="*/ 39 h 195"/>
                <a:gd name="T12" fmla="*/ 115 w 153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195">
                  <a:moveTo>
                    <a:pt x="11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153" y="195"/>
                    <a:pt x="153" y="195"/>
                    <a:pt x="153" y="195"/>
                  </a:cubicBezTo>
                  <a:cubicBezTo>
                    <a:pt x="153" y="39"/>
                    <a:pt x="153" y="39"/>
                    <a:pt x="153" y="39"/>
                  </a:cubicBezTo>
                  <a:lnTo>
                    <a:pt x="1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3" name="Freeform 79">
              <a:extLst>
                <a:ext uri="{FF2B5EF4-FFF2-40B4-BE49-F238E27FC236}">
                  <a16:creationId xmlns:a16="http://schemas.microsoft.com/office/drawing/2014/main" id="{9D3586C4-0006-4426-95B2-8B47798BC5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1700" y="2247901"/>
              <a:ext cx="142875" cy="147638"/>
            </a:xfrm>
            <a:custGeom>
              <a:avLst/>
              <a:gdLst>
                <a:gd name="T0" fmla="*/ 0 w 90"/>
                <a:gd name="T1" fmla="*/ 0 h 93"/>
                <a:gd name="T2" fmla="*/ 0 w 90"/>
                <a:gd name="T3" fmla="*/ 93 h 93"/>
                <a:gd name="T4" fmla="*/ 90 w 90"/>
                <a:gd name="T5" fmla="*/ 93 h 93"/>
                <a:gd name="T6" fmla="*/ 0 w 90"/>
                <a:gd name="T7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93">
                  <a:moveTo>
                    <a:pt x="0" y="0"/>
                  </a:moveTo>
                  <a:lnTo>
                    <a:pt x="0" y="93"/>
                  </a:lnTo>
                  <a:lnTo>
                    <a:pt x="90" y="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4" name="Freeform 80">
              <a:extLst>
                <a:ext uri="{FF2B5EF4-FFF2-40B4-BE49-F238E27FC236}">
                  <a16:creationId xmlns:a16="http://schemas.microsoft.com/office/drawing/2014/main" id="{F3616695-DD00-4ABB-9D93-4BE37345768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419351"/>
              <a:ext cx="242888" cy="22225"/>
            </a:xfrm>
            <a:custGeom>
              <a:avLst/>
              <a:gdLst>
                <a:gd name="T0" fmla="*/ 64 w 64"/>
                <a:gd name="T1" fmla="*/ 3 h 6"/>
                <a:gd name="T2" fmla="*/ 61 w 64"/>
                <a:gd name="T3" fmla="*/ 6 h 6"/>
                <a:gd name="T4" fmla="*/ 4 w 64"/>
                <a:gd name="T5" fmla="*/ 6 h 6"/>
                <a:gd name="T6" fmla="*/ 0 w 64"/>
                <a:gd name="T7" fmla="*/ 3 h 6"/>
                <a:gd name="T8" fmla="*/ 4 w 64"/>
                <a:gd name="T9" fmla="*/ 0 h 6"/>
                <a:gd name="T10" fmla="*/ 61 w 64"/>
                <a:gd name="T11" fmla="*/ 0 h 6"/>
                <a:gd name="T12" fmla="*/ 64 w 6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">
                  <a:moveTo>
                    <a:pt x="64" y="3"/>
                  </a:moveTo>
                  <a:cubicBezTo>
                    <a:pt x="64" y="5"/>
                    <a:pt x="63" y="6"/>
                    <a:pt x="61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4" y="1"/>
                    <a:pt x="6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5" name="Freeform 81">
              <a:extLst>
                <a:ext uri="{FF2B5EF4-FFF2-40B4-BE49-F238E27FC236}">
                  <a16:creationId xmlns:a16="http://schemas.microsoft.com/office/drawing/2014/main" id="{758549E5-4612-483E-B004-F59D9A066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516188"/>
              <a:ext cx="390525" cy="23813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6" name="Freeform 82">
              <a:extLst>
                <a:ext uri="{FF2B5EF4-FFF2-40B4-BE49-F238E27FC236}">
                  <a16:creationId xmlns:a16="http://schemas.microsoft.com/office/drawing/2014/main" id="{09DD0D24-7E89-4D87-B270-89F2D055644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611438"/>
              <a:ext cx="390525" cy="26988"/>
            </a:xfrm>
            <a:custGeom>
              <a:avLst/>
              <a:gdLst>
                <a:gd name="T0" fmla="*/ 103 w 103"/>
                <a:gd name="T1" fmla="*/ 3 h 7"/>
                <a:gd name="T2" fmla="*/ 100 w 103"/>
                <a:gd name="T3" fmla="*/ 7 h 7"/>
                <a:gd name="T4" fmla="*/ 4 w 103"/>
                <a:gd name="T5" fmla="*/ 7 h 7"/>
                <a:gd name="T6" fmla="*/ 0 w 103"/>
                <a:gd name="T7" fmla="*/ 3 h 7"/>
                <a:gd name="T8" fmla="*/ 4 w 103"/>
                <a:gd name="T9" fmla="*/ 0 h 7"/>
                <a:gd name="T10" fmla="*/ 100 w 103"/>
                <a:gd name="T11" fmla="*/ 0 h 7"/>
                <a:gd name="T12" fmla="*/ 103 w 103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7">
                  <a:moveTo>
                    <a:pt x="103" y="3"/>
                  </a:moveTo>
                  <a:cubicBezTo>
                    <a:pt x="103" y="5"/>
                    <a:pt x="101" y="7"/>
                    <a:pt x="100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2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7" name="Freeform 83">
              <a:extLst>
                <a:ext uri="{FF2B5EF4-FFF2-40B4-BE49-F238E27FC236}">
                  <a16:creationId xmlns:a16="http://schemas.microsoft.com/office/drawing/2014/main" id="{61F95C9E-CDD3-471F-BFAC-006DB824DE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709863"/>
              <a:ext cx="390525" cy="22225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8" name="Freeform 84">
              <a:extLst>
                <a:ext uri="{FF2B5EF4-FFF2-40B4-BE49-F238E27FC236}">
                  <a16:creationId xmlns:a16="http://schemas.microsoft.com/office/drawing/2014/main" id="{1FD0E707-DFE1-4529-932D-AE6A70931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530225" cy="530225"/>
            </a:xfrm>
            <a:custGeom>
              <a:avLst/>
              <a:gdLst>
                <a:gd name="T0" fmla="*/ 131 w 140"/>
                <a:gd name="T1" fmla="*/ 90 h 140"/>
                <a:gd name="T2" fmla="*/ 51 w 140"/>
                <a:gd name="T3" fmla="*/ 11 h 140"/>
                <a:gd name="T4" fmla="*/ 49 w 140"/>
                <a:gd name="T5" fmla="*/ 9 h 140"/>
                <a:gd name="T6" fmla="*/ 11 w 140"/>
                <a:gd name="T7" fmla="*/ 11 h 140"/>
                <a:gd name="T8" fmla="*/ 11 w 140"/>
                <a:gd name="T9" fmla="*/ 11 h 140"/>
                <a:gd name="T10" fmla="*/ 9 w 140"/>
                <a:gd name="T11" fmla="*/ 49 h 140"/>
                <a:gd name="T12" fmla="*/ 11 w 140"/>
                <a:gd name="T13" fmla="*/ 52 h 140"/>
                <a:gd name="T14" fmla="*/ 90 w 140"/>
                <a:gd name="T15" fmla="*/ 131 h 140"/>
                <a:gd name="T16" fmla="*/ 122 w 140"/>
                <a:gd name="T17" fmla="*/ 140 h 140"/>
                <a:gd name="T18" fmla="*/ 129 w 140"/>
                <a:gd name="T19" fmla="*/ 129 h 140"/>
                <a:gd name="T20" fmla="*/ 140 w 140"/>
                <a:gd name="T21" fmla="*/ 122 h 140"/>
                <a:gd name="T22" fmla="*/ 131 w 140"/>
                <a:gd name="T23" fmla="*/ 9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0" h="140">
                  <a:moveTo>
                    <a:pt x="131" y="90"/>
                  </a:moveTo>
                  <a:cubicBezTo>
                    <a:pt x="51" y="11"/>
                    <a:pt x="51" y="11"/>
                    <a:pt x="51" y="11"/>
                  </a:cubicBezTo>
                  <a:cubicBezTo>
                    <a:pt x="51" y="10"/>
                    <a:pt x="50" y="10"/>
                    <a:pt x="49" y="9"/>
                  </a:cubicBezTo>
                  <a:cubicBezTo>
                    <a:pt x="38" y="0"/>
                    <a:pt x="22" y="0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0" y="22"/>
                    <a:pt x="0" y="38"/>
                    <a:pt x="9" y="49"/>
                  </a:cubicBezTo>
                  <a:cubicBezTo>
                    <a:pt x="9" y="50"/>
                    <a:pt x="10" y="51"/>
                    <a:pt x="11" y="52"/>
                  </a:cubicBezTo>
                  <a:cubicBezTo>
                    <a:pt x="90" y="131"/>
                    <a:pt x="90" y="131"/>
                    <a:pt x="90" y="13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3" y="136"/>
                    <a:pt x="125" y="132"/>
                    <a:pt x="129" y="129"/>
                  </a:cubicBezTo>
                  <a:cubicBezTo>
                    <a:pt x="132" y="126"/>
                    <a:pt x="136" y="123"/>
                    <a:pt x="140" y="122"/>
                  </a:cubicBezTo>
                  <a:lnTo>
                    <a:pt x="131" y="90"/>
                  </a:lnTo>
                  <a:close/>
                </a:path>
              </a:pathLst>
            </a:custGeom>
            <a:solidFill>
              <a:srgbClr val="F4D0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9" name="Freeform 85">
              <a:extLst>
                <a:ext uri="{FF2B5EF4-FFF2-40B4-BE49-F238E27FC236}">
                  <a16:creationId xmlns:a16="http://schemas.microsoft.com/office/drawing/2014/main" id="{308C843F-1B54-401E-8E06-7BFCFA39A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185738" cy="185738"/>
            </a:xfrm>
            <a:custGeom>
              <a:avLst/>
              <a:gdLst>
                <a:gd name="T0" fmla="*/ 49 w 49"/>
                <a:gd name="T1" fmla="*/ 9 h 49"/>
                <a:gd name="T2" fmla="*/ 9 w 49"/>
                <a:gd name="T3" fmla="*/ 49 h 49"/>
                <a:gd name="T4" fmla="*/ 11 w 49"/>
                <a:gd name="T5" fmla="*/ 11 h 49"/>
                <a:gd name="T6" fmla="*/ 11 w 49"/>
                <a:gd name="T7" fmla="*/ 11 h 49"/>
                <a:gd name="T8" fmla="*/ 49 w 49"/>
                <a:gd name="T9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9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0" y="38"/>
                    <a:pt x="0" y="2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2" y="0"/>
                    <a:pt x="38" y="0"/>
                    <a:pt x="49" y="9"/>
                  </a:cubicBezTo>
                  <a:close/>
                </a:path>
              </a:pathLst>
            </a:custGeom>
            <a:solidFill>
              <a:srgbClr val="F7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0" name="Freeform 86">
              <a:extLst>
                <a:ext uri="{FF2B5EF4-FFF2-40B4-BE49-F238E27FC236}">
                  <a16:creationId xmlns:a16="http://schemas.microsoft.com/office/drawing/2014/main" id="{2CF67A8A-309F-4A5A-B561-F4BD99374A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075" y="2800351"/>
              <a:ext cx="90488" cy="90488"/>
            </a:xfrm>
            <a:custGeom>
              <a:avLst/>
              <a:gdLst>
                <a:gd name="T0" fmla="*/ 18 w 24"/>
                <a:gd name="T1" fmla="*/ 0 h 24"/>
                <a:gd name="T2" fmla="*/ 24 w 24"/>
                <a:gd name="T3" fmla="*/ 21 h 24"/>
                <a:gd name="T4" fmla="*/ 20 w 24"/>
                <a:gd name="T5" fmla="*/ 24 h 24"/>
                <a:gd name="T6" fmla="*/ 0 w 24"/>
                <a:gd name="T7" fmla="*/ 18 h 24"/>
                <a:gd name="T8" fmla="*/ 7 w 24"/>
                <a:gd name="T9" fmla="*/ 7 h 24"/>
                <a:gd name="T10" fmla="*/ 18 w 24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18" y="0"/>
                  </a:moveTo>
                  <a:cubicBezTo>
                    <a:pt x="24" y="21"/>
                    <a:pt x="24" y="21"/>
                    <a:pt x="24" y="21"/>
                  </a:cubicBezTo>
                  <a:cubicBezTo>
                    <a:pt x="24" y="23"/>
                    <a:pt x="22" y="24"/>
                    <a:pt x="20" y="2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4"/>
                    <a:pt x="3" y="10"/>
                    <a:pt x="7" y="7"/>
                  </a:cubicBezTo>
                  <a:cubicBezTo>
                    <a:pt x="10" y="4"/>
                    <a:pt x="14" y="1"/>
                    <a:pt x="18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1" name="Freeform 87">
              <a:extLst>
                <a:ext uri="{FF2B5EF4-FFF2-40B4-BE49-F238E27FC236}">
                  <a16:creationId xmlns:a16="http://schemas.microsoft.com/office/drawing/2014/main" id="{74D4F353-CD22-42A3-BEC8-43FFA6B08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03476"/>
              <a:ext cx="434975" cy="427038"/>
            </a:xfrm>
            <a:custGeom>
              <a:avLst/>
              <a:gdLst>
                <a:gd name="T0" fmla="*/ 114 w 115"/>
                <a:gd name="T1" fmla="*/ 73 h 113"/>
                <a:gd name="T2" fmla="*/ 41 w 115"/>
                <a:gd name="T3" fmla="*/ 0 h 113"/>
                <a:gd name="T4" fmla="*/ 0 w 115"/>
                <a:gd name="T5" fmla="*/ 40 h 113"/>
                <a:gd name="T6" fmla="*/ 0 w 115"/>
                <a:gd name="T7" fmla="*/ 40 h 113"/>
                <a:gd name="T8" fmla="*/ 73 w 115"/>
                <a:gd name="T9" fmla="*/ 113 h 113"/>
                <a:gd name="T10" fmla="*/ 73 w 115"/>
                <a:gd name="T11" fmla="*/ 113 h 113"/>
                <a:gd name="T12" fmla="*/ 76 w 115"/>
                <a:gd name="T13" fmla="*/ 95 h 113"/>
                <a:gd name="T14" fmla="*/ 94 w 115"/>
                <a:gd name="T15" fmla="*/ 94 h 113"/>
                <a:gd name="T16" fmla="*/ 94 w 115"/>
                <a:gd name="T17" fmla="*/ 93 h 113"/>
                <a:gd name="T18" fmla="*/ 94 w 115"/>
                <a:gd name="T19" fmla="*/ 93 h 113"/>
                <a:gd name="T20" fmla="*/ 96 w 115"/>
                <a:gd name="T21" fmla="*/ 74 h 113"/>
                <a:gd name="T22" fmla="*/ 114 w 115"/>
                <a:gd name="T23" fmla="*/ 73 h 113"/>
                <a:gd name="T24" fmla="*/ 114 w 115"/>
                <a:gd name="T25" fmla="*/ 73 h 113"/>
                <a:gd name="T26" fmla="*/ 114 w 115"/>
                <a:gd name="T27" fmla="*/ 7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113">
                  <a:moveTo>
                    <a:pt x="114" y="73"/>
                  </a:moveTo>
                  <a:cubicBezTo>
                    <a:pt x="108" y="67"/>
                    <a:pt x="41" y="0"/>
                    <a:pt x="41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64" y="104"/>
                    <a:pt x="73" y="113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0" y="108"/>
                    <a:pt x="71" y="100"/>
                    <a:pt x="76" y="95"/>
                  </a:cubicBezTo>
                  <a:cubicBezTo>
                    <a:pt x="81" y="90"/>
                    <a:pt x="89" y="90"/>
                    <a:pt x="94" y="94"/>
                  </a:cubicBezTo>
                  <a:cubicBezTo>
                    <a:pt x="94" y="94"/>
                    <a:pt x="94" y="94"/>
                    <a:pt x="94" y="93"/>
                  </a:cubicBezTo>
                  <a:cubicBezTo>
                    <a:pt x="94" y="93"/>
                    <a:pt x="94" y="93"/>
                    <a:pt x="94" y="93"/>
                  </a:cubicBezTo>
                  <a:cubicBezTo>
                    <a:pt x="90" y="88"/>
                    <a:pt x="90" y="80"/>
                    <a:pt x="96" y="74"/>
                  </a:cubicBezTo>
                  <a:cubicBezTo>
                    <a:pt x="101" y="69"/>
                    <a:pt x="109" y="69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5" y="73"/>
                    <a:pt x="115" y="73"/>
                    <a:pt x="114" y="73"/>
                  </a:cubicBez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" name="Freeform 88">
              <a:extLst>
                <a:ext uri="{FF2B5EF4-FFF2-40B4-BE49-F238E27FC236}">
                  <a16:creationId xmlns:a16="http://schemas.microsoft.com/office/drawing/2014/main" id="{44F29EAF-762D-4BD0-AA60-105C12F2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038" y="2373313"/>
              <a:ext cx="180975" cy="180975"/>
            </a:xfrm>
            <a:custGeom>
              <a:avLst/>
              <a:gdLst>
                <a:gd name="T0" fmla="*/ 17 w 114"/>
                <a:gd name="T1" fmla="*/ 114 h 114"/>
                <a:gd name="T2" fmla="*/ 0 w 114"/>
                <a:gd name="T3" fmla="*/ 98 h 114"/>
                <a:gd name="T4" fmla="*/ 95 w 114"/>
                <a:gd name="T5" fmla="*/ 0 h 114"/>
                <a:gd name="T6" fmla="*/ 114 w 114"/>
                <a:gd name="T7" fmla="*/ 19 h 114"/>
                <a:gd name="T8" fmla="*/ 17 w 114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14">
                  <a:moveTo>
                    <a:pt x="17" y="114"/>
                  </a:moveTo>
                  <a:lnTo>
                    <a:pt x="0" y="98"/>
                  </a:lnTo>
                  <a:lnTo>
                    <a:pt x="95" y="0"/>
                  </a:lnTo>
                  <a:lnTo>
                    <a:pt x="114" y="19"/>
                  </a:lnTo>
                  <a:lnTo>
                    <a:pt x="17" y="114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" name="Freeform 89">
              <a:extLst>
                <a:ext uri="{FF2B5EF4-FFF2-40B4-BE49-F238E27FC236}">
                  <a16:creationId xmlns:a16="http://schemas.microsoft.com/office/drawing/2014/main" id="{FDCA81E2-577A-49B1-9C05-AE100D6871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79676"/>
              <a:ext cx="355600" cy="350838"/>
            </a:xfrm>
            <a:custGeom>
              <a:avLst/>
              <a:gdLst>
                <a:gd name="T0" fmla="*/ 0 w 94"/>
                <a:gd name="T1" fmla="*/ 20 h 93"/>
                <a:gd name="T2" fmla="*/ 73 w 94"/>
                <a:gd name="T3" fmla="*/ 93 h 93"/>
                <a:gd name="T4" fmla="*/ 73 w 94"/>
                <a:gd name="T5" fmla="*/ 93 h 93"/>
                <a:gd name="T6" fmla="*/ 76 w 94"/>
                <a:gd name="T7" fmla="*/ 75 h 93"/>
                <a:gd name="T8" fmla="*/ 94 w 94"/>
                <a:gd name="T9" fmla="*/ 74 h 93"/>
                <a:gd name="T10" fmla="*/ 94 w 94"/>
                <a:gd name="T11" fmla="*/ 73 h 93"/>
                <a:gd name="T12" fmla="*/ 21 w 94"/>
                <a:gd name="T13" fmla="*/ 0 h 93"/>
                <a:gd name="T14" fmla="*/ 0 w 94"/>
                <a:gd name="T15" fmla="*/ 2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93">
                  <a:moveTo>
                    <a:pt x="0" y="20"/>
                  </a:moveTo>
                  <a:cubicBezTo>
                    <a:pt x="0" y="20"/>
                    <a:pt x="64" y="84"/>
                    <a:pt x="73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0" y="88"/>
                    <a:pt x="71" y="80"/>
                    <a:pt x="76" y="75"/>
                  </a:cubicBezTo>
                  <a:cubicBezTo>
                    <a:pt x="81" y="70"/>
                    <a:pt x="89" y="70"/>
                    <a:pt x="94" y="74"/>
                  </a:cubicBezTo>
                  <a:cubicBezTo>
                    <a:pt x="94" y="74"/>
                    <a:pt x="94" y="73"/>
                    <a:pt x="94" y="73"/>
                  </a:cubicBezTo>
                  <a:cubicBezTo>
                    <a:pt x="21" y="0"/>
                    <a:pt x="21" y="0"/>
                    <a:pt x="21" y="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C298EAC9-F076-42F7-A0FE-288E076763B0}"/>
              </a:ext>
            </a:extLst>
          </p:cNvPr>
          <p:cNvGrpSpPr/>
          <p:nvPr/>
        </p:nvGrpSpPr>
        <p:grpSpPr>
          <a:xfrm>
            <a:off x="7722149" y="3294630"/>
            <a:ext cx="298068" cy="298068"/>
            <a:chOff x="10375900" y="3867150"/>
            <a:chExt cx="773113" cy="773113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06" name="Freeform 132">
              <a:extLst>
                <a:ext uri="{FF2B5EF4-FFF2-40B4-BE49-F238E27FC236}">
                  <a16:creationId xmlns:a16="http://schemas.microsoft.com/office/drawing/2014/main" id="{4744675E-EF17-4957-91DF-97CAB121B3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75900" y="3867150"/>
              <a:ext cx="773113" cy="773113"/>
            </a:xfrm>
            <a:custGeom>
              <a:avLst/>
              <a:gdLst>
                <a:gd name="T0" fmla="*/ 78 w 204"/>
                <a:gd name="T1" fmla="*/ 170 h 204"/>
                <a:gd name="T2" fmla="*/ 73 w 204"/>
                <a:gd name="T3" fmla="*/ 177 h 204"/>
                <a:gd name="T4" fmla="*/ 38 w 204"/>
                <a:gd name="T5" fmla="*/ 169 h 204"/>
                <a:gd name="T6" fmla="*/ 31 w 204"/>
                <a:gd name="T7" fmla="*/ 135 h 204"/>
                <a:gd name="T8" fmla="*/ 37 w 204"/>
                <a:gd name="T9" fmla="*/ 129 h 204"/>
                <a:gd name="T10" fmla="*/ 46 w 204"/>
                <a:gd name="T11" fmla="*/ 131 h 204"/>
                <a:gd name="T12" fmla="*/ 76 w 204"/>
                <a:gd name="T13" fmla="*/ 161 h 204"/>
                <a:gd name="T14" fmla="*/ 78 w 204"/>
                <a:gd name="T15" fmla="*/ 170 h 204"/>
                <a:gd name="T16" fmla="*/ 166 w 204"/>
                <a:gd name="T17" fmla="*/ 0 h 204"/>
                <a:gd name="T18" fmla="*/ 85 w 204"/>
                <a:gd name="T19" fmla="*/ 80 h 204"/>
                <a:gd name="T20" fmla="*/ 64 w 204"/>
                <a:gd name="T21" fmla="*/ 76 h 204"/>
                <a:gd name="T22" fmla="*/ 0 w 204"/>
                <a:gd name="T23" fmla="*/ 140 h 204"/>
                <a:gd name="T24" fmla="*/ 64 w 204"/>
                <a:gd name="T25" fmla="*/ 204 h 204"/>
                <a:gd name="T26" fmla="*/ 128 w 204"/>
                <a:gd name="T27" fmla="*/ 140 h 204"/>
                <a:gd name="T28" fmla="*/ 124 w 204"/>
                <a:gd name="T29" fmla="*/ 119 h 204"/>
                <a:gd name="T30" fmla="*/ 128 w 204"/>
                <a:gd name="T31" fmla="*/ 115 h 204"/>
                <a:gd name="T32" fmla="*/ 128 w 204"/>
                <a:gd name="T33" fmla="*/ 89 h 204"/>
                <a:gd name="T34" fmla="*/ 153 w 204"/>
                <a:gd name="T35" fmla="*/ 89 h 204"/>
                <a:gd name="T36" fmla="*/ 153 w 204"/>
                <a:gd name="T37" fmla="*/ 64 h 204"/>
                <a:gd name="T38" fmla="*/ 179 w 204"/>
                <a:gd name="T39" fmla="*/ 64 h 204"/>
                <a:gd name="T40" fmla="*/ 179 w 204"/>
                <a:gd name="T41" fmla="*/ 38 h 204"/>
                <a:gd name="T42" fmla="*/ 204 w 204"/>
                <a:gd name="T43" fmla="*/ 38 h 204"/>
                <a:gd name="T44" fmla="*/ 204 w 204"/>
                <a:gd name="T45" fmla="*/ 0 h 204"/>
                <a:gd name="T46" fmla="*/ 166 w 204"/>
                <a:gd name="T47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04" h="204">
                  <a:moveTo>
                    <a:pt x="78" y="170"/>
                  </a:moveTo>
                  <a:cubicBezTo>
                    <a:pt x="78" y="173"/>
                    <a:pt x="76" y="175"/>
                    <a:pt x="73" y="177"/>
                  </a:cubicBezTo>
                  <a:cubicBezTo>
                    <a:pt x="61" y="181"/>
                    <a:pt x="47" y="179"/>
                    <a:pt x="38" y="169"/>
                  </a:cubicBezTo>
                  <a:cubicBezTo>
                    <a:pt x="29" y="160"/>
                    <a:pt x="26" y="146"/>
                    <a:pt x="31" y="135"/>
                  </a:cubicBezTo>
                  <a:cubicBezTo>
                    <a:pt x="32" y="132"/>
                    <a:pt x="34" y="130"/>
                    <a:pt x="37" y="129"/>
                  </a:cubicBezTo>
                  <a:cubicBezTo>
                    <a:pt x="40" y="128"/>
                    <a:pt x="44" y="129"/>
                    <a:pt x="46" y="131"/>
                  </a:cubicBezTo>
                  <a:cubicBezTo>
                    <a:pt x="76" y="161"/>
                    <a:pt x="76" y="161"/>
                    <a:pt x="76" y="161"/>
                  </a:cubicBezTo>
                  <a:cubicBezTo>
                    <a:pt x="78" y="164"/>
                    <a:pt x="79" y="167"/>
                    <a:pt x="78" y="170"/>
                  </a:cubicBezTo>
                  <a:close/>
                  <a:moveTo>
                    <a:pt x="166" y="0"/>
                  </a:moveTo>
                  <a:cubicBezTo>
                    <a:pt x="85" y="80"/>
                    <a:pt x="85" y="80"/>
                    <a:pt x="85" y="80"/>
                  </a:cubicBezTo>
                  <a:cubicBezTo>
                    <a:pt x="79" y="78"/>
                    <a:pt x="71" y="76"/>
                    <a:pt x="64" y="76"/>
                  </a:cubicBezTo>
                  <a:cubicBezTo>
                    <a:pt x="28" y="76"/>
                    <a:pt x="0" y="105"/>
                    <a:pt x="0" y="140"/>
                  </a:cubicBezTo>
                  <a:cubicBezTo>
                    <a:pt x="0" y="176"/>
                    <a:pt x="28" y="204"/>
                    <a:pt x="64" y="204"/>
                  </a:cubicBezTo>
                  <a:cubicBezTo>
                    <a:pt x="99" y="204"/>
                    <a:pt x="128" y="176"/>
                    <a:pt x="128" y="140"/>
                  </a:cubicBezTo>
                  <a:cubicBezTo>
                    <a:pt x="128" y="133"/>
                    <a:pt x="126" y="125"/>
                    <a:pt x="124" y="119"/>
                  </a:cubicBezTo>
                  <a:cubicBezTo>
                    <a:pt x="128" y="115"/>
                    <a:pt x="128" y="115"/>
                    <a:pt x="128" y="115"/>
                  </a:cubicBezTo>
                  <a:cubicBezTo>
                    <a:pt x="128" y="89"/>
                    <a:pt x="128" y="89"/>
                    <a:pt x="128" y="89"/>
                  </a:cubicBezTo>
                  <a:cubicBezTo>
                    <a:pt x="153" y="89"/>
                    <a:pt x="153" y="89"/>
                    <a:pt x="153" y="89"/>
                  </a:cubicBezTo>
                  <a:cubicBezTo>
                    <a:pt x="153" y="64"/>
                    <a:pt x="153" y="64"/>
                    <a:pt x="153" y="64"/>
                  </a:cubicBezTo>
                  <a:cubicBezTo>
                    <a:pt x="179" y="64"/>
                    <a:pt x="179" y="64"/>
                    <a:pt x="179" y="64"/>
                  </a:cubicBezTo>
                  <a:cubicBezTo>
                    <a:pt x="179" y="38"/>
                    <a:pt x="179" y="38"/>
                    <a:pt x="179" y="38"/>
                  </a:cubicBezTo>
                  <a:cubicBezTo>
                    <a:pt x="204" y="38"/>
                    <a:pt x="204" y="38"/>
                    <a:pt x="204" y="38"/>
                  </a:cubicBezTo>
                  <a:cubicBezTo>
                    <a:pt x="204" y="0"/>
                    <a:pt x="204" y="0"/>
                    <a:pt x="204" y="0"/>
                  </a:cubicBezTo>
                  <a:lnTo>
                    <a:pt x="166" y="0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" name="Freeform 133">
              <a:extLst>
                <a:ext uri="{FF2B5EF4-FFF2-40B4-BE49-F238E27FC236}">
                  <a16:creationId xmlns:a16="http://schemas.microsoft.com/office/drawing/2014/main" id="{F0A77843-0454-417A-B2AB-A2886CBFFE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5900" y="3867150"/>
              <a:ext cx="773113" cy="708025"/>
            </a:xfrm>
            <a:custGeom>
              <a:avLst/>
              <a:gdLst>
                <a:gd name="T0" fmla="*/ 204 w 204"/>
                <a:gd name="T1" fmla="*/ 0 h 187"/>
                <a:gd name="T2" fmla="*/ 166 w 204"/>
                <a:gd name="T3" fmla="*/ 0 h 187"/>
                <a:gd name="T4" fmla="*/ 85 w 204"/>
                <a:gd name="T5" fmla="*/ 80 h 187"/>
                <a:gd name="T6" fmla="*/ 64 w 204"/>
                <a:gd name="T7" fmla="*/ 76 h 187"/>
                <a:gd name="T8" fmla="*/ 0 w 204"/>
                <a:gd name="T9" fmla="*/ 140 h 187"/>
                <a:gd name="T10" fmla="*/ 20 w 204"/>
                <a:gd name="T11" fmla="*/ 187 h 187"/>
                <a:gd name="T12" fmla="*/ 37 w 204"/>
                <a:gd name="T13" fmla="*/ 169 h 187"/>
                <a:gd name="T14" fmla="*/ 31 w 204"/>
                <a:gd name="T15" fmla="*/ 135 h 187"/>
                <a:gd name="T16" fmla="*/ 37 w 204"/>
                <a:gd name="T17" fmla="*/ 129 h 187"/>
                <a:gd name="T18" fmla="*/ 46 w 204"/>
                <a:gd name="T19" fmla="*/ 131 h 187"/>
                <a:gd name="T20" fmla="*/ 60 w 204"/>
                <a:gd name="T21" fmla="*/ 146 h 187"/>
                <a:gd name="T22" fmla="*/ 204 w 204"/>
                <a:gd name="T23" fmla="*/ 2 h 187"/>
                <a:gd name="T24" fmla="*/ 204 w 204"/>
                <a:gd name="T25" fmla="*/ 0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4" h="187">
                  <a:moveTo>
                    <a:pt x="204" y="0"/>
                  </a:moveTo>
                  <a:cubicBezTo>
                    <a:pt x="166" y="0"/>
                    <a:pt x="166" y="0"/>
                    <a:pt x="166" y="0"/>
                  </a:cubicBezTo>
                  <a:cubicBezTo>
                    <a:pt x="85" y="80"/>
                    <a:pt x="85" y="80"/>
                    <a:pt x="85" y="80"/>
                  </a:cubicBezTo>
                  <a:cubicBezTo>
                    <a:pt x="79" y="78"/>
                    <a:pt x="71" y="76"/>
                    <a:pt x="64" y="76"/>
                  </a:cubicBezTo>
                  <a:cubicBezTo>
                    <a:pt x="28" y="76"/>
                    <a:pt x="0" y="105"/>
                    <a:pt x="0" y="140"/>
                  </a:cubicBezTo>
                  <a:cubicBezTo>
                    <a:pt x="0" y="159"/>
                    <a:pt x="7" y="175"/>
                    <a:pt x="20" y="187"/>
                  </a:cubicBezTo>
                  <a:cubicBezTo>
                    <a:pt x="37" y="169"/>
                    <a:pt x="37" y="169"/>
                    <a:pt x="37" y="169"/>
                  </a:cubicBezTo>
                  <a:cubicBezTo>
                    <a:pt x="28" y="159"/>
                    <a:pt x="26" y="146"/>
                    <a:pt x="31" y="135"/>
                  </a:cubicBezTo>
                  <a:cubicBezTo>
                    <a:pt x="32" y="132"/>
                    <a:pt x="34" y="130"/>
                    <a:pt x="37" y="129"/>
                  </a:cubicBezTo>
                  <a:cubicBezTo>
                    <a:pt x="40" y="128"/>
                    <a:pt x="44" y="129"/>
                    <a:pt x="46" y="131"/>
                  </a:cubicBezTo>
                  <a:cubicBezTo>
                    <a:pt x="60" y="146"/>
                    <a:pt x="60" y="146"/>
                    <a:pt x="60" y="146"/>
                  </a:cubicBezTo>
                  <a:cubicBezTo>
                    <a:pt x="204" y="2"/>
                    <a:pt x="204" y="2"/>
                    <a:pt x="204" y="2"/>
                  </a:cubicBezTo>
                  <a:lnTo>
                    <a:pt x="204" y="0"/>
                  </a:lnTo>
                  <a:close/>
                </a:path>
              </a:pathLst>
            </a:custGeom>
            <a:solidFill>
              <a:srgbClr val="FBE1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8" name="Freeform 134">
              <a:extLst>
                <a:ext uri="{FF2B5EF4-FFF2-40B4-BE49-F238E27FC236}">
                  <a16:creationId xmlns:a16="http://schemas.microsoft.com/office/drawing/2014/main" id="{AAF5E31C-F000-4AB4-8D6B-2CBF6D3973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55313" y="3889375"/>
              <a:ext cx="322263" cy="300038"/>
            </a:xfrm>
            <a:custGeom>
              <a:avLst/>
              <a:gdLst>
                <a:gd name="T0" fmla="*/ 2 w 85"/>
                <a:gd name="T1" fmla="*/ 77 h 79"/>
                <a:gd name="T2" fmla="*/ 2 w 85"/>
                <a:gd name="T3" fmla="*/ 70 h 79"/>
                <a:gd name="T4" fmla="*/ 72 w 85"/>
                <a:gd name="T5" fmla="*/ 0 h 79"/>
                <a:gd name="T6" fmla="*/ 85 w 85"/>
                <a:gd name="T7" fmla="*/ 0 h 79"/>
                <a:gd name="T8" fmla="*/ 8 w 85"/>
                <a:gd name="T9" fmla="*/ 77 h 79"/>
                <a:gd name="T10" fmla="*/ 2 w 85"/>
                <a:gd name="T11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9">
                  <a:moveTo>
                    <a:pt x="2" y="77"/>
                  </a:moveTo>
                  <a:cubicBezTo>
                    <a:pt x="0" y="75"/>
                    <a:pt x="0" y="72"/>
                    <a:pt x="2" y="7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" y="77"/>
                    <a:pt x="8" y="77"/>
                    <a:pt x="8" y="77"/>
                  </a:cubicBezTo>
                  <a:cubicBezTo>
                    <a:pt x="7" y="79"/>
                    <a:pt x="4" y="79"/>
                    <a:pt x="2" y="77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4E2895F4-869D-463D-AA9B-43000072DB66}"/>
              </a:ext>
            </a:extLst>
          </p:cNvPr>
          <p:cNvGrpSpPr/>
          <p:nvPr/>
        </p:nvGrpSpPr>
        <p:grpSpPr>
          <a:xfrm>
            <a:off x="6989255" y="1906667"/>
            <a:ext cx="300516" cy="300516"/>
            <a:chOff x="10369550" y="5518150"/>
            <a:chExt cx="779463" cy="779463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11" name="Freeform 231">
              <a:extLst>
                <a:ext uri="{FF2B5EF4-FFF2-40B4-BE49-F238E27FC236}">
                  <a16:creationId xmlns:a16="http://schemas.microsoft.com/office/drawing/2014/main" id="{4024316C-220A-4C4B-AE24-55C5409987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9550" y="5956300"/>
              <a:ext cx="336550" cy="341313"/>
            </a:xfrm>
            <a:custGeom>
              <a:avLst/>
              <a:gdLst>
                <a:gd name="T0" fmla="*/ 89 w 89"/>
                <a:gd name="T1" fmla="*/ 26 h 90"/>
                <a:gd name="T2" fmla="*/ 33 w 89"/>
                <a:gd name="T3" fmla="*/ 83 h 90"/>
                <a:gd name="T4" fmla="*/ 7 w 89"/>
                <a:gd name="T5" fmla="*/ 83 h 90"/>
                <a:gd name="T6" fmla="*/ 7 w 89"/>
                <a:gd name="T7" fmla="*/ 57 h 90"/>
                <a:gd name="T8" fmla="*/ 64 w 89"/>
                <a:gd name="T9" fmla="*/ 0 h 90"/>
                <a:gd name="T10" fmla="*/ 89 w 89"/>
                <a:gd name="T11" fmla="*/ 2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90">
                  <a:moveTo>
                    <a:pt x="89" y="26"/>
                  </a:moveTo>
                  <a:cubicBezTo>
                    <a:pt x="33" y="83"/>
                    <a:pt x="33" y="83"/>
                    <a:pt x="33" y="83"/>
                  </a:cubicBezTo>
                  <a:cubicBezTo>
                    <a:pt x="25" y="90"/>
                    <a:pt x="14" y="90"/>
                    <a:pt x="7" y="83"/>
                  </a:cubicBezTo>
                  <a:cubicBezTo>
                    <a:pt x="0" y="75"/>
                    <a:pt x="0" y="64"/>
                    <a:pt x="7" y="5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0" y="11"/>
                    <a:pt x="79" y="19"/>
                    <a:pt x="89" y="26"/>
                  </a:cubicBezTo>
                  <a:close/>
                </a:path>
              </a:pathLst>
            </a:custGeom>
            <a:solidFill>
              <a:srgbClr val="8446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" name="Freeform 232">
              <a:extLst>
                <a:ext uri="{FF2B5EF4-FFF2-40B4-BE49-F238E27FC236}">
                  <a16:creationId xmlns:a16="http://schemas.microsoft.com/office/drawing/2014/main" id="{BA5AC4CB-F20F-4EED-9BC9-8A1BEBFA7F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9550" y="5956300"/>
              <a:ext cx="284163" cy="311150"/>
            </a:xfrm>
            <a:custGeom>
              <a:avLst/>
              <a:gdLst>
                <a:gd name="T0" fmla="*/ 75 w 75"/>
                <a:gd name="T1" fmla="*/ 14 h 82"/>
                <a:gd name="T2" fmla="*/ 7 w 75"/>
                <a:gd name="T3" fmla="*/ 82 h 82"/>
                <a:gd name="T4" fmla="*/ 7 w 75"/>
                <a:gd name="T5" fmla="*/ 57 h 82"/>
                <a:gd name="T6" fmla="*/ 64 w 75"/>
                <a:gd name="T7" fmla="*/ 0 h 82"/>
                <a:gd name="T8" fmla="*/ 75 w 75"/>
                <a:gd name="T9" fmla="*/ 1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82">
                  <a:moveTo>
                    <a:pt x="75" y="14"/>
                  </a:moveTo>
                  <a:cubicBezTo>
                    <a:pt x="7" y="82"/>
                    <a:pt x="7" y="82"/>
                    <a:pt x="7" y="82"/>
                  </a:cubicBezTo>
                  <a:cubicBezTo>
                    <a:pt x="0" y="75"/>
                    <a:pt x="0" y="64"/>
                    <a:pt x="7" y="5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7" y="5"/>
                    <a:pt x="71" y="10"/>
                    <a:pt x="75" y="14"/>
                  </a:cubicBezTo>
                  <a:close/>
                </a:path>
              </a:pathLst>
            </a:custGeom>
            <a:solidFill>
              <a:srgbClr val="9C6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" name="Freeform 233">
              <a:extLst>
                <a:ext uri="{FF2B5EF4-FFF2-40B4-BE49-F238E27FC236}">
                  <a16:creationId xmlns:a16="http://schemas.microsoft.com/office/drawing/2014/main" id="{297E7ED0-9D64-4707-B43B-98D8C08BA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9575" y="5518150"/>
              <a:ext cx="579438" cy="577850"/>
            </a:xfrm>
            <a:custGeom>
              <a:avLst/>
              <a:gdLst>
                <a:gd name="T0" fmla="*/ 153 w 153"/>
                <a:gd name="T1" fmla="*/ 76 h 153"/>
                <a:gd name="T2" fmla="*/ 77 w 153"/>
                <a:gd name="T3" fmla="*/ 153 h 153"/>
                <a:gd name="T4" fmla="*/ 0 w 153"/>
                <a:gd name="T5" fmla="*/ 76 h 153"/>
                <a:gd name="T6" fmla="*/ 77 w 153"/>
                <a:gd name="T7" fmla="*/ 0 h 153"/>
                <a:gd name="T8" fmla="*/ 153 w 153"/>
                <a:gd name="T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cubicBezTo>
                    <a:pt x="153" y="119"/>
                    <a:pt x="119" y="153"/>
                    <a:pt x="77" y="153"/>
                  </a:cubicBezTo>
                  <a:cubicBezTo>
                    <a:pt x="34" y="153"/>
                    <a:pt x="0" y="118"/>
                    <a:pt x="0" y="76"/>
                  </a:cubicBezTo>
                  <a:cubicBezTo>
                    <a:pt x="0" y="34"/>
                    <a:pt x="34" y="0"/>
                    <a:pt x="77" y="0"/>
                  </a:cubicBezTo>
                  <a:cubicBezTo>
                    <a:pt x="119" y="0"/>
                    <a:pt x="153" y="34"/>
                    <a:pt x="153" y="76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" name="Oval 234">
              <a:extLst>
                <a:ext uri="{FF2B5EF4-FFF2-40B4-BE49-F238E27FC236}">
                  <a16:creationId xmlns:a16="http://schemas.microsoft.com/office/drawing/2014/main" id="{176AF9CC-6AB0-43E3-8D97-D53561015D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29900" y="5578475"/>
              <a:ext cx="458788" cy="457200"/>
            </a:xfrm>
            <a:prstGeom prst="ellipse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" name="Freeform 235">
              <a:extLst>
                <a:ext uri="{FF2B5EF4-FFF2-40B4-BE49-F238E27FC236}">
                  <a16:creationId xmlns:a16="http://schemas.microsoft.com/office/drawing/2014/main" id="{2DAED2D0-C874-4B79-82E4-191A9985F0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9900" y="5578475"/>
              <a:ext cx="390525" cy="388938"/>
            </a:xfrm>
            <a:custGeom>
              <a:avLst/>
              <a:gdLst>
                <a:gd name="T0" fmla="*/ 0 w 103"/>
                <a:gd name="T1" fmla="*/ 60 h 103"/>
                <a:gd name="T2" fmla="*/ 61 w 103"/>
                <a:gd name="T3" fmla="*/ 0 h 103"/>
                <a:gd name="T4" fmla="*/ 103 w 103"/>
                <a:gd name="T5" fmla="*/ 17 h 103"/>
                <a:gd name="T6" fmla="*/ 17 w 103"/>
                <a:gd name="T7" fmla="*/ 103 h 103"/>
                <a:gd name="T8" fmla="*/ 0 w 103"/>
                <a:gd name="T9" fmla="*/ 6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103">
                  <a:moveTo>
                    <a:pt x="0" y="60"/>
                  </a:moveTo>
                  <a:cubicBezTo>
                    <a:pt x="0" y="27"/>
                    <a:pt x="27" y="0"/>
                    <a:pt x="61" y="0"/>
                  </a:cubicBezTo>
                  <a:cubicBezTo>
                    <a:pt x="77" y="0"/>
                    <a:pt x="92" y="6"/>
                    <a:pt x="103" y="17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6" y="92"/>
                    <a:pt x="0" y="77"/>
                    <a:pt x="0" y="60"/>
                  </a:cubicBezTo>
                  <a:close/>
                </a:path>
              </a:pathLst>
            </a:custGeom>
            <a:solidFill>
              <a:srgbClr val="6F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1026" name="Picture 2">
            <a:extLst>
              <a:ext uri="{FF2B5EF4-FFF2-40B4-BE49-F238E27FC236}">
                <a16:creationId xmlns:a16="http://schemas.microsoft.com/office/drawing/2014/main" id="{35B869ED-FC31-E7B7-6E4A-A05A8BA4CC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0909" y="2214366"/>
            <a:ext cx="2618689" cy="2691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6" name="Group 115">
            <a:extLst>
              <a:ext uri="{FF2B5EF4-FFF2-40B4-BE49-F238E27FC236}">
                <a16:creationId xmlns:a16="http://schemas.microsoft.com/office/drawing/2014/main" id="{B4BD853B-6134-4A63-86FE-E2CB0B88D5EE}"/>
              </a:ext>
            </a:extLst>
          </p:cNvPr>
          <p:cNvGrpSpPr/>
          <p:nvPr/>
        </p:nvGrpSpPr>
        <p:grpSpPr>
          <a:xfrm>
            <a:off x="4172087" y="3294627"/>
            <a:ext cx="297457" cy="298074"/>
            <a:chOff x="8347096" y="2216191"/>
            <a:chExt cx="771526" cy="773127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18" name="Freeform 98">
              <a:extLst>
                <a:ext uri="{FF2B5EF4-FFF2-40B4-BE49-F238E27FC236}">
                  <a16:creationId xmlns:a16="http://schemas.microsoft.com/office/drawing/2014/main" id="{D1B14280-FD6D-4910-8682-15CEDF23510D}"/>
                </a:ext>
              </a:extLst>
            </p:cNvPr>
            <p:cNvSpPr>
              <a:spLocks/>
            </p:cNvSpPr>
            <p:nvPr/>
          </p:nvSpPr>
          <p:spPr bwMode="auto">
            <a:xfrm>
              <a:off x="8683646" y="2409870"/>
              <a:ext cx="434976" cy="579448"/>
            </a:xfrm>
            <a:custGeom>
              <a:avLst/>
              <a:gdLst>
                <a:gd name="T0" fmla="*/ 0 w 115"/>
                <a:gd name="T1" fmla="*/ 9 h 153"/>
                <a:gd name="T2" fmla="*/ 9 w 115"/>
                <a:gd name="T3" fmla="*/ 0 h 153"/>
                <a:gd name="T4" fmla="*/ 77 w 115"/>
                <a:gd name="T5" fmla="*/ 0 h 153"/>
                <a:gd name="T6" fmla="*/ 115 w 115"/>
                <a:gd name="T7" fmla="*/ 32 h 153"/>
                <a:gd name="T8" fmla="*/ 115 w 115"/>
                <a:gd name="T9" fmla="*/ 144 h 153"/>
                <a:gd name="T10" fmla="*/ 106 w 115"/>
                <a:gd name="T11" fmla="*/ 153 h 153"/>
                <a:gd name="T12" fmla="*/ 9 w 115"/>
                <a:gd name="T13" fmla="*/ 153 h 153"/>
                <a:gd name="T14" fmla="*/ 0 w 115"/>
                <a:gd name="T15" fmla="*/ 144 h 153"/>
                <a:gd name="T16" fmla="*/ 0 w 115"/>
                <a:gd name="T17" fmla="*/ 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153">
                  <a:moveTo>
                    <a:pt x="0" y="9"/>
                  </a:moveTo>
                  <a:cubicBezTo>
                    <a:pt x="0" y="4"/>
                    <a:pt x="4" y="0"/>
                    <a:pt x="9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115" y="32"/>
                    <a:pt x="115" y="32"/>
                    <a:pt x="115" y="32"/>
                  </a:cubicBezTo>
                  <a:cubicBezTo>
                    <a:pt x="115" y="144"/>
                    <a:pt x="115" y="144"/>
                    <a:pt x="115" y="144"/>
                  </a:cubicBezTo>
                  <a:cubicBezTo>
                    <a:pt x="115" y="149"/>
                    <a:pt x="111" y="153"/>
                    <a:pt x="106" y="153"/>
                  </a:cubicBezTo>
                  <a:cubicBezTo>
                    <a:pt x="9" y="153"/>
                    <a:pt x="9" y="153"/>
                    <a:pt x="9" y="153"/>
                  </a:cubicBezTo>
                  <a:cubicBezTo>
                    <a:pt x="4" y="153"/>
                    <a:pt x="0" y="149"/>
                    <a:pt x="0" y="144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9" name="Freeform 99">
              <a:extLst>
                <a:ext uri="{FF2B5EF4-FFF2-40B4-BE49-F238E27FC236}">
                  <a16:creationId xmlns:a16="http://schemas.microsoft.com/office/drawing/2014/main" id="{6FC608FF-9416-43B6-A111-721D6CFEA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5747" y="2409870"/>
              <a:ext cx="142875" cy="120652"/>
            </a:xfrm>
            <a:custGeom>
              <a:avLst/>
              <a:gdLst>
                <a:gd name="T0" fmla="*/ 0 w 38"/>
                <a:gd name="T1" fmla="*/ 0 h 32"/>
                <a:gd name="T2" fmla="*/ 0 w 38"/>
                <a:gd name="T3" fmla="*/ 23 h 32"/>
                <a:gd name="T4" fmla="*/ 9 w 38"/>
                <a:gd name="T5" fmla="*/ 32 h 32"/>
                <a:gd name="T6" fmla="*/ 38 w 38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32">
                  <a:moveTo>
                    <a:pt x="0" y="0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0" y="28"/>
                    <a:pt x="4" y="32"/>
                    <a:pt x="9" y="32"/>
                  </a:cubicBezTo>
                  <a:cubicBezTo>
                    <a:pt x="38" y="32"/>
                    <a:pt x="38" y="32"/>
                    <a:pt x="38" y="32"/>
                  </a:cubicBezTo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0" name="Freeform 100">
              <a:extLst>
                <a:ext uri="{FF2B5EF4-FFF2-40B4-BE49-F238E27FC236}">
                  <a16:creationId xmlns:a16="http://schemas.microsoft.com/office/drawing/2014/main" id="{44DF7B3B-18C0-47B8-9085-4788105B4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0959" y="2552747"/>
              <a:ext cx="131763" cy="26988"/>
            </a:xfrm>
            <a:custGeom>
              <a:avLst/>
              <a:gdLst>
                <a:gd name="T0" fmla="*/ 35 w 35"/>
                <a:gd name="T1" fmla="*/ 3 h 7"/>
                <a:gd name="T2" fmla="*/ 32 w 35"/>
                <a:gd name="T3" fmla="*/ 7 h 7"/>
                <a:gd name="T4" fmla="*/ 3 w 35"/>
                <a:gd name="T5" fmla="*/ 7 h 7"/>
                <a:gd name="T6" fmla="*/ 0 w 35"/>
                <a:gd name="T7" fmla="*/ 3 h 7"/>
                <a:gd name="T8" fmla="*/ 3 w 35"/>
                <a:gd name="T9" fmla="*/ 0 h 7"/>
                <a:gd name="T10" fmla="*/ 32 w 35"/>
                <a:gd name="T11" fmla="*/ 0 h 7"/>
                <a:gd name="T12" fmla="*/ 35 w 35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7">
                  <a:moveTo>
                    <a:pt x="35" y="3"/>
                  </a:moveTo>
                  <a:cubicBezTo>
                    <a:pt x="35" y="5"/>
                    <a:pt x="33" y="7"/>
                    <a:pt x="3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3" y="0"/>
                    <a:pt x="35" y="2"/>
                    <a:pt x="35" y="3"/>
                  </a:cubicBez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1" name="Freeform 101">
              <a:extLst>
                <a:ext uri="{FF2B5EF4-FFF2-40B4-BE49-F238E27FC236}">
                  <a16:creationId xmlns:a16="http://schemas.microsoft.com/office/drawing/2014/main" id="{4366E66B-5EFF-464D-A497-3D6BE944B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0959" y="2651174"/>
              <a:ext cx="276226" cy="23813"/>
            </a:xfrm>
            <a:custGeom>
              <a:avLst/>
              <a:gdLst>
                <a:gd name="T0" fmla="*/ 73 w 73"/>
                <a:gd name="T1" fmla="*/ 3 h 6"/>
                <a:gd name="T2" fmla="*/ 70 w 73"/>
                <a:gd name="T3" fmla="*/ 6 h 6"/>
                <a:gd name="T4" fmla="*/ 3 w 73"/>
                <a:gd name="T5" fmla="*/ 6 h 6"/>
                <a:gd name="T6" fmla="*/ 0 w 73"/>
                <a:gd name="T7" fmla="*/ 3 h 6"/>
                <a:gd name="T8" fmla="*/ 3 w 73"/>
                <a:gd name="T9" fmla="*/ 0 h 6"/>
                <a:gd name="T10" fmla="*/ 70 w 73"/>
                <a:gd name="T11" fmla="*/ 0 h 6"/>
                <a:gd name="T12" fmla="*/ 73 w 7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6">
                  <a:moveTo>
                    <a:pt x="73" y="3"/>
                  </a:moveTo>
                  <a:cubicBezTo>
                    <a:pt x="73" y="5"/>
                    <a:pt x="72" y="6"/>
                    <a:pt x="70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3" y="1"/>
                    <a:pt x="73" y="3"/>
                  </a:cubicBez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2" name="Freeform 102">
              <a:extLst>
                <a:ext uri="{FF2B5EF4-FFF2-40B4-BE49-F238E27FC236}">
                  <a16:creationId xmlns:a16="http://schemas.microsoft.com/office/drawing/2014/main" id="{3F3019FC-0AD6-4BBC-ADB4-05B2761C19C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0959" y="2746426"/>
              <a:ext cx="276226" cy="26988"/>
            </a:xfrm>
            <a:custGeom>
              <a:avLst/>
              <a:gdLst>
                <a:gd name="T0" fmla="*/ 73 w 73"/>
                <a:gd name="T1" fmla="*/ 4 h 7"/>
                <a:gd name="T2" fmla="*/ 70 w 73"/>
                <a:gd name="T3" fmla="*/ 7 h 7"/>
                <a:gd name="T4" fmla="*/ 3 w 73"/>
                <a:gd name="T5" fmla="*/ 7 h 7"/>
                <a:gd name="T6" fmla="*/ 0 w 73"/>
                <a:gd name="T7" fmla="*/ 4 h 7"/>
                <a:gd name="T8" fmla="*/ 3 w 73"/>
                <a:gd name="T9" fmla="*/ 0 h 7"/>
                <a:gd name="T10" fmla="*/ 70 w 73"/>
                <a:gd name="T11" fmla="*/ 0 h 7"/>
                <a:gd name="T12" fmla="*/ 73 w 73"/>
                <a:gd name="T13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7">
                  <a:moveTo>
                    <a:pt x="73" y="4"/>
                  </a:moveTo>
                  <a:cubicBezTo>
                    <a:pt x="73" y="5"/>
                    <a:pt x="72" y="7"/>
                    <a:pt x="70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3" y="2"/>
                    <a:pt x="73" y="4"/>
                  </a:cubicBez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3" name="Freeform 103">
              <a:extLst>
                <a:ext uri="{FF2B5EF4-FFF2-40B4-BE49-F238E27FC236}">
                  <a16:creationId xmlns:a16="http://schemas.microsoft.com/office/drawing/2014/main" id="{CCD74C9C-CA16-4131-A253-28AB572DC4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0959" y="2844853"/>
              <a:ext cx="276226" cy="22225"/>
            </a:xfrm>
            <a:custGeom>
              <a:avLst/>
              <a:gdLst>
                <a:gd name="T0" fmla="*/ 73 w 73"/>
                <a:gd name="T1" fmla="*/ 3 h 6"/>
                <a:gd name="T2" fmla="*/ 70 w 73"/>
                <a:gd name="T3" fmla="*/ 6 h 6"/>
                <a:gd name="T4" fmla="*/ 3 w 73"/>
                <a:gd name="T5" fmla="*/ 6 h 6"/>
                <a:gd name="T6" fmla="*/ 0 w 73"/>
                <a:gd name="T7" fmla="*/ 3 h 6"/>
                <a:gd name="T8" fmla="*/ 3 w 73"/>
                <a:gd name="T9" fmla="*/ 0 h 6"/>
                <a:gd name="T10" fmla="*/ 70 w 73"/>
                <a:gd name="T11" fmla="*/ 0 h 6"/>
                <a:gd name="T12" fmla="*/ 73 w 7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6">
                  <a:moveTo>
                    <a:pt x="73" y="3"/>
                  </a:moveTo>
                  <a:cubicBezTo>
                    <a:pt x="73" y="5"/>
                    <a:pt x="72" y="6"/>
                    <a:pt x="70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3" y="1"/>
                    <a:pt x="73" y="3"/>
                  </a:cubicBez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4" name="Freeform 104">
              <a:extLst>
                <a:ext uri="{FF2B5EF4-FFF2-40B4-BE49-F238E27FC236}">
                  <a16:creationId xmlns:a16="http://schemas.microsoft.com/office/drawing/2014/main" id="{EFF72B99-23E8-4299-98BA-8C6684B15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47096" y="2216191"/>
              <a:ext cx="434976" cy="579448"/>
            </a:xfrm>
            <a:custGeom>
              <a:avLst/>
              <a:gdLst>
                <a:gd name="T0" fmla="*/ 0 w 115"/>
                <a:gd name="T1" fmla="*/ 9 h 153"/>
                <a:gd name="T2" fmla="*/ 9 w 115"/>
                <a:gd name="T3" fmla="*/ 0 h 153"/>
                <a:gd name="T4" fmla="*/ 76 w 115"/>
                <a:gd name="T5" fmla="*/ 0 h 153"/>
                <a:gd name="T6" fmla="*/ 115 w 115"/>
                <a:gd name="T7" fmla="*/ 32 h 153"/>
                <a:gd name="T8" fmla="*/ 115 w 115"/>
                <a:gd name="T9" fmla="*/ 144 h 153"/>
                <a:gd name="T10" fmla="*/ 106 w 115"/>
                <a:gd name="T11" fmla="*/ 153 h 153"/>
                <a:gd name="T12" fmla="*/ 9 w 115"/>
                <a:gd name="T13" fmla="*/ 153 h 153"/>
                <a:gd name="T14" fmla="*/ 0 w 115"/>
                <a:gd name="T15" fmla="*/ 144 h 153"/>
                <a:gd name="T16" fmla="*/ 0 w 115"/>
                <a:gd name="T17" fmla="*/ 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153">
                  <a:moveTo>
                    <a:pt x="0" y="9"/>
                  </a:moveTo>
                  <a:cubicBezTo>
                    <a:pt x="0" y="4"/>
                    <a:pt x="4" y="0"/>
                    <a:pt x="9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115" y="32"/>
                    <a:pt x="115" y="32"/>
                    <a:pt x="115" y="32"/>
                  </a:cubicBezTo>
                  <a:cubicBezTo>
                    <a:pt x="115" y="144"/>
                    <a:pt x="115" y="144"/>
                    <a:pt x="115" y="144"/>
                  </a:cubicBezTo>
                  <a:cubicBezTo>
                    <a:pt x="115" y="149"/>
                    <a:pt x="111" y="153"/>
                    <a:pt x="106" y="153"/>
                  </a:cubicBezTo>
                  <a:cubicBezTo>
                    <a:pt x="9" y="153"/>
                    <a:pt x="9" y="153"/>
                    <a:pt x="9" y="153"/>
                  </a:cubicBezTo>
                  <a:cubicBezTo>
                    <a:pt x="4" y="153"/>
                    <a:pt x="0" y="149"/>
                    <a:pt x="0" y="144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5" name="Freeform 105">
              <a:extLst>
                <a:ext uri="{FF2B5EF4-FFF2-40B4-BE49-F238E27FC236}">
                  <a16:creationId xmlns:a16="http://schemas.microsoft.com/office/drawing/2014/main" id="{EF83E240-EADB-46C5-B193-96613F2A0829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4434" y="2216191"/>
              <a:ext cx="147638" cy="120652"/>
            </a:xfrm>
            <a:custGeom>
              <a:avLst/>
              <a:gdLst>
                <a:gd name="T0" fmla="*/ 0 w 39"/>
                <a:gd name="T1" fmla="*/ 0 h 32"/>
                <a:gd name="T2" fmla="*/ 0 w 39"/>
                <a:gd name="T3" fmla="*/ 23 h 32"/>
                <a:gd name="T4" fmla="*/ 10 w 39"/>
                <a:gd name="T5" fmla="*/ 32 h 32"/>
                <a:gd name="T6" fmla="*/ 39 w 39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32">
                  <a:moveTo>
                    <a:pt x="0" y="0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0" y="28"/>
                    <a:pt x="5" y="32"/>
                    <a:pt x="10" y="32"/>
                  </a:cubicBezTo>
                  <a:cubicBezTo>
                    <a:pt x="39" y="32"/>
                    <a:pt x="39" y="32"/>
                    <a:pt x="39" y="32"/>
                  </a:cubicBezTo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6" name="Freeform 106">
              <a:extLst>
                <a:ext uri="{FF2B5EF4-FFF2-40B4-BE49-F238E27FC236}">
                  <a16:creationId xmlns:a16="http://schemas.microsoft.com/office/drawing/2014/main" id="{F4160EAD-CDC5-4532-B187-B290FB5CC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1233" y="2360656"/>
              <a:ext cx="131763" cy="22225"/>
            </a:xfrm>
            <a:custGeom>
              <a:avLst/>
              <a:gdLst>
                <a:gd name="T0" fmla="*/ 35 w 35"/>
                <a:gd name="T1" fmla="*/ 3 h 6"/>
                <a:gd name="T2" fmla="*/ 32 w 35"/>
                <a:gd name="T3" fmla="*/ 6 h 6"/>
                <a:gd name="T4" fmla="*/ 3 w 35"/>
                <a:gd name="T5" fmla="*/ 6 h 6"/>
                <a:gd name="T6" fmla="*/ 0 w 35"/>
                <a:gd name="T7" fmla="*/ 3 h 6"/>
                <a:gd name="T8" fmla="*/ 3 w 35"/>
                <a:gd name="T9" fmla="*/ 0 h 6"/>
                <a:gd name="T10" fmla="*/ 32 w 35"/>
                <a:gd name="T11" fmla="*/ 0 h 6"/>
                <a:gd name="T12" fmla="*/ 35 w 35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6">
                  <a:moveTo>
                    <a:pt x="35" y="3"/>
                  </a:moveTo>
                  <a:cubicBezTo>
                    <a:pt x="35" y="5"/>
                    <a:pt x="34" y="6"/>
                    <a:pt x="3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4" y="0"/>
                    <a:pt x="35" y="1"/>
                    <a:pt x="35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7" name="Freeform 107">
              <a:extLst>
                <a:ext uri="{FF2B5EF4-FFF2-40B4-BE49-F238E27FC236}">
                  <a16:creationId xmlns:a16="http://schemas.microsoft.com/office/drawing/2014/main" id="{AC6F67CD-2CE5-4A3F-A2A4-3475CDC474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1233" y="2459083"/>
              <a:ext cx="279401" cy="22225"/>
            </a:xfrm>
            <a:custGeom>
              <a:avLst/>
              <a:gdLst>
                <a:gd name="T0" fmla="*/ 74 w 74"/>
                <a:gd name="T1" fmla="*/ 3 h 6"/>
                <a:gd name="T2" fmla="*/ 70 w 74"/>
                <a:gd name="T3" fmla="*/ 6 h 6"/>
                <a:gd name="T4" fmla="*/ 3 w 74"/>
                <a:gd name="T5" fmla="*/ 6 h 6"/>
                <a:gd name="T6" fmla="*/ 0 w 74"/>
                <a:gd name="T7" fmla="*/ 3 h 6"/>
                <a:gd name="T8" fmla="*/ 3 w 74"/>
                <a:gd name="T9" fmla="*/ 0 h 6"/>
                <a:gd name="T10" fmla="*/ 70 w 74"/>
                <a:gd name="T11" fmla="*/ 0 h 6"/>
                <a:gd name="T12" fmla="*/ 74 w 7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6">
                  <a:moveTo>
                    <a:pt x="74" y="3"/>
                  </a:moveTo>
                  <a:cubicBezTo>
                    <a:pt x="74" y="5"/>
                    <a:pt x="72" y="6"/>
                    <a:pt x="70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4" y="1"/>
                    <a:pt x="7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8" name="Freeform 108">
              <a:extLst>
                <a:ext uri="{FF2B5EF4-FFF2-40B4-BE49-F238E27FC236}">
                  <a16:creationId xmlns:a16="http://schemas.microsoft.com/office/drawing/2014/main" id="{B78BCEA5-FA49-46AF-A3A9-52FF835C9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1233" y="2552747"/>
              <a:ext cx="279401" cy="26988"/>
            </a:xfrm>
            <a:custGeom>
              <a:avLst/>
              <a:gdLst>
                <a:gd name="T0" fmla="*/ 74 w 74"/>
                <a:gd name="T1" fmla="*/ 3 h 7"/>
                <a:gd name="T2" fmla="*/ 70 w 74"/>
                <a:gd name="T3" fmla="*/ 7 h 7"/>
                <a:gd name="T4" fmla="*/ 3 w 74"/>
                <a:gd name="T5" fmla="*/ 7 h 7"/>
                <a:gd name="T6" fmla="*/ 0 w 74"/>
                <a:gd name="T7" fmla="*/ 3 h 7"/>
                <a:gd name="T8" fmla="*/ 3 w 74"/>
                <a:gd name="T9" fmla="*/ 0 h 7"/>
                <a:gd name="T10" fmla="*/ 70 w 74"/>
                <a:gd name="T11" fmla="*/ 0 h 7"/>
                <a:gd name="T12" fmla="*/ 74 w 74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7">
                  <a:moveTo>
                    <a:pt x="74" y="3"/>
                  </a:moveTo>
                  <a:cubicBezTo>
                    <a:pt x="74" y="5"/>
                    <a:pt x="72" y="7"/>
                    <a:pt x="70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4" y="2"/>
                    <a:pt x="7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9" name="Freeform 109">
              <a:extLst>
                <a:ext uri="{FF2B5EF4-FFF2-40B4-BE49-F238E27FC236}">
                  <a16:creationId xmlns:a16="http://schemas.microsoft.com/office/drawing/2014/main" id="{E319D93C-5926-4B80-A03A-D064A314EA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1233" y="2651174"/>
              <a:ext cx="279401" cy="23813"/>
            </a:xfrm>
            <a:custGeom>
              <a:avLst/>
              <a:gdLst>
                <a:gd name="T0" fmla="*/ 74 w 74"/>
                <a:gd name="T1" fmla="*/ 3 h 6"/>
                <a:gd name="T2" fmla="*/ 70 w 74"/>
                <a:gd name="T3" fmla="*/ 6 h 6"/>
                <a:gd name="T4" fmla="*/ 3 w 74"/>
                <a:gd name="T5" fmla="*/ 6 h 6"/>
                <a:gd name="T6" fmla="*/ 0 w 74"/>
                <a:gd name="T7" fmla="*/ 3 h 6"/>
                <a:gd name="T8" fmla="*/ 3 w 74"/>
                <a:gd name="T9" fmla="*/ 0 h 6"/>
                <a:gd name="T10" fmla="*/ 70 w 74"/>
                <a:gd name="T11" fmla="*/ 0 h 6"/>
                <a:gd name="T12" fmla="*/ 74 w 7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6">
                  <a:moveTo>
                    <a:pt x="74" y="3"/>
                  </a:moveTo>
                  <a:cubicBezTo>
                    <a:pt x="74" y="5"/>
                    <a:pt x="72" y="6"/>
                    <a:pt x="70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4" y="1"/>
                    <a:pt x="7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7CAE2D2C-1B54-46BC-BEE5-39F718F1304A}"/>
              </a:ext>
            </a:extLst>
          </p:cNvPr>
          <p:cNvGrpSpPr/>
          <p:nvPr/>
        </p:nvGrpSpPr>
        <p:grpSpPr>
          <a:xfrm>
            <a:off x="6997824" y="4737799"/>
            <a:ext cx="283378" cy="299294"/>
            <a:chOff x="4686300" y="2212975"/>
            <a:chExt cx="735013" cy="776288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32" name="Freeform 103">
              <a:extLst>
                <a:ext uri="{FF2B5EF4-FFF2-40B4-BE49-F238E27FC236}">
                  <a16:creationId xmlns:a16="http://schemas.microsoft.com/office/drawing/2014/main" id="{E6310E47-CAAA-40AB-906D-1CBAE7015D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6300" y="2224088"/>
              <a:ext cx="735013" cy="765175"/>
            </a:xfrm>
            <a:custGeom>
              <a:avLst/>
              <a:gdLst>
                <a:gd name="T0" fmla="*/ 463 w 463"/>
                <a:gd name="T1" fmla="*/ 305 h 482"/>
                <a:gd name="T2" fmla="*/ 391 w 463"/>
                <a:gd name="T3" fmla="*/ 0 h 482"/>
                <a:gd name="T4" fmla="*/ 0 w 463"/>
                <a:gd name="T5" fmla="*/ 90 h 482"/>
                <a:gd name="T6" fmla="*/ 93 w 463"/>
                <a:gd name="T7" fmla="*/ 482 h 482"/>
                <a:gd name="T8" fmla="*/ 398 w 463"/>
                <a:gd name="T9" fmla="*/ 410 h 482"/>
                <a:gd name="T10" fmla="*/ 463 w 463"/>
                <a:gd name="T11" fmla="*/ 305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3" h="482">
                  <a:moveTo>
                    <a:pt x="463" y="305"/>
                  </a:moveTo>
                  <a:lnTo>
                    <a:pt x="391" y="0"/>
                  </a:lnTo>
                  <a:lnTo>
                    <a:pt x="0" y="90"/>
                  </a:lnTo>
                  <a:lnTo>
                    <a:pt x="93" y="482"/>
                  </a:lnTo>
                  <a:lnTo>
                    <a:pt x="398" y="410"/>
                  </a:lnTo>
                  <a:lnTo>
                    <a:pt x="463" y="305"/>
                  </a:lnTo>
                  <a:close/>
                </a:path>
              </a:pathLst>
            </a:custGeom>
            <a:solidFill>
              <a:srgbClr val="FBEC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3" name="Freeform 104">
              <a:extLst>
                <a:ext uri="{FF2B5EF4-FFF2-40B4-BE49-F238E27FC236}">
                  <a16:creationId xmlns:a16="http://schemas.microsoft.com/office/drawing/2014/main" id="{25B04500-8346-42EE-ACDA-EFCA432F42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7963" y="2708275"/>
              <a:ext cx="133350" cy="163513"/>
            </a:xfrm>
            <a:custGeom>
              <a:avLst/>
              <a:gdLst>
                <a:gd name="T0" fmla="*/ 84 w 84"/>
                <a:gd name="T1" fmla="*/ 0 h 103"/>
                <a:gd name="T2" fmla="*/ 22 w 84"/>
                <a:gd name="T3" fmla="*/ 103 h 103"/>
                <a:gd name="T4" fmla="*/ 0 w 84"/>
                <a:gd name="T5" fmla="*/ 19 h 103"/>
                <a:gd name="T6" fmla="*/ 84 w 84"/>
                <a:gd name="T7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" h="103">
                  <a:moveTo>
                    <a:pt x="84" y="0"/>
                  </a:moveTo>
                  <a:lnTo>
                    <a:pt x="22" y="103"/>
                  </a:lnTo>
                  <a:lnTo>
                    <a:pt x="0" y="19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rgbClr val="FBE1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4" name="Freeform 105">
              <a:extLst>
                <a:ext uri="{FF2B5EF4-FFF2-40B4-BE49-F238E27FC236}">
                  <a16:creationId xmlns:a16="http://schemas.microsoft.com/office/drawing/2014/main" id="{999BE749-28C2-4049-940A-0CC792615F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1875" y="2492375"/>
              <a:ext cx="377825" cy="109538"/>
            </a:xfrm>
            <a:custGeom>
              <a:avLst/>
              <a:gdLst>
                <a:gd name="T0" fmla="*/ 100 w 100"/>
                <a:gd name="T1" fmla="*/ 3 h 29"/>
                <a:gd name="T2" fmla="*/ 98 w 100"/>
                <a:gd name="T3" fmla="*/ 6 h 29"/>
                <a:gd name="T4" fmla="*/ 4 w 100"/>
                <a:gd name="T5" fmla="*/ 29 h 29"/>
                <a:gd name="T6" fmla="*/ 0 w 100"/>
                <a:gd name="T7" fmla="*/ 27 h 29"/>
                <a:gd name="T8" fmla="*/ 3 w 100"/>
                <a:gd name="T9" fmla="*/ 23 h 29"/>
                <a:gd name="T10" fmla="*/ 96 w 100"/>
                <a:gd name="T11" fmla="*/ 0 h 29"/>
                <a:gd name="T12" fmla="*/ 100 w 100"/>
                <a:gd name="T13" fmla="*/ 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29">
                  <a:moveTo>
                    <a:pt x="100" y="3"/>
                  </a:moveTo>
                  <a:cubicBezTo>
                    <a:pt x="100" y="4"/>
                    <a:pt x="99" y="6"/>
                    <a:pt x="98" y="6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2" y="29"/>
                    <a:pt x="1" y="28"/>
                    <a:pt x="0" y="27"/>
                  </a:cubicBezTo>
                  <a:cubicBezTo>
                    <a:pt x="0" y="25"/>
                    <a:pt x="1" y="23"/>
                    <a:pt x="3" y="23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8" y="0"/>
                    <a:pt x="99" y="1"/>
                    <a:pt x="100" y="3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5" name="Freeform 106">
              <a:extLst>
                <a:ext uri="{FF2B5EF4-FFF2-40B4-BE49-F238E27FC236}">
                  <a16:creationId xmlns:a16="http://schemas.microsoft.com/office/drawing/2014/main" id="{B02CD025-24FB-42D4-B5A7-A90ACD80A8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4100" y="2587625"/>
              <a:ext cx="379413" cy="109538"/>
            </a:xfrm>
            <a:custGeom>
              <a:avLst/>
              <a:gdLst>
                <a:gd name="T0" fmla="*/ 100 w 100"/>
                <a:gd name="T1" fmla="*/ 3 h 29"/>
                <a:gd name="T2" fmla="*/ 98 w 100"/>
                <a:gd name="T3" fmla="*/ 6 h 29"/>
                <a:gd name="T4" fmla="*/ 4 w 100"/>
                <a:gd name="T5" fmla="*/ 29 h 29"/>
                <a:gd name="T6" fmla="*/ 0 w 100"/>
                <a:gd name="T7" fmla="*/ 26 h 29"/>
                <a:gd name="T8" fmla="*/ 3 w 100"/>
                <a:gd name="T9" fmla="*/ 23 h 29"/>
                <a:gd name="T10" fmla="*/ 96 w 100"/>
                <a:gd name="T11" fmla="*/ 0 h 29"/>
                <a:gd name="T12" fmla="*/ 100 w 100"/>
                <a:gd name="T13" fmla="*/ 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29">
                  <a:moveTo>
                    <a:pt x="100" y="3"/>
                  </a:moveTo>
                  <a:cubicBezTo>
                    <a:pt x="100" y="4"/>
                    <a:pt x="99" y="6"/>
                    <a:pt x="98" y="6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2" y="29"/>
                    <a:pt x="1" y="28"/>
                    <a:pt x="0" y="26"/>
                  </a:cubicBezTo>
                  <a:cubicBezTo>
                    <a:pt x="0" y="25"/>
                    <a:pt x="1" y="23"/>
                    <a:pt x="3" y="23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8" y="0"/>
                    <a:pt x="99" y="1"/>
                    <a:pt x="100" y="3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6" name="Freeform 107">
              <a:extLst>
                <a:ext uri="{FF2B5EF4-FFF2-40B4-BE49-F238E27FC236}">
                  <a16:creationId xmlns:a16="http://schemas.microsoft.com/office/drawing/2014/main" id="{05A39CC2-3646-4A8D-8E35-F7C5CFE44BB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6325" y="2705100"/>
              <a:ext cx="284163" cy="87313"/>
            </a:xfrm>
            <a:custGeom>
              <a:avLst/>
              <a:gdLst>
                <a:gd name="T0" fmla="*/ 75 w 75"/>
                <a:gd name="T1" fmla="*/ 2 h 23"/>
                <a:gd name="T2" fmla="*/ 73 w 75"/>
                <a:gd name="T3" fmla="*/ 6 h 23"/>
                <a:gd name="T4" fmla="*/ 4 w 75"/>
                <a:gd name="T5" fmla="*/ 23 h 23"/>
                <a:gd name="T6" fmla="*/ 0 w 75"/>
                <a:gd name="T7" fmla="*/ 20 h 23"/>
                <a:gd name="T8" fmla="*/ 3 w 75"/>
                <a:gd name="T9" fmla="*/ 17 h 23"/>
                <a:gd name="T10" fmla="*/ 71 w 75"/>
                <a:gd name="T11" fmla="*/ 0 h 23"/>
                <a:gd name="T12" fmla="*/ 75 w 75"/>
                <a:gd name="T13" fmla="*/ 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23">
                  <a:moveTo>
                    <a:pt x="75" y="2"/>
                  </a:moveTo>
                  <a:cubicBezTo>
                    <a:pt x="75" y="4"/>
                    <a:pt x="74" y="6"/>
                    <a:pt x="73" y="6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2" y="23"/>
                    <a:pt x="1" y="22"/>
                    <a:pt x="0" y="20"/>
                  </a:cubicBezTo>
                  <a:cubicBezTo>
                    <a:pt x="0" y="19"/>
                    <a:pt x="1" y="17"/>
                    <a:pt x="3" y="17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3" y="0"/>
                    <a:pt x="75" y="1"/>
                    <a:pt x="75" y="2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7" name="Freeform 108">
              <a:extLst>
                <a:ext uri="{FF2B5EF4-FFF2-40B4-BE49-F238E27FC236}">
                  <a16:creationId xmlns:a16="http://schemas.microsoft.com/office/drawing/2014/main" id="{70AF8650-EB09-4787-B825-A5D7B7B33D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3800" y="2355850"/>
              <a:ext cx="46038" cy="125413"/>
            </a:xfrm>
            <a:custGeom>
              <a:avLst/>
              <a:gdLst>
                <a:gd name="T0" fmla="*/ 6 w 12"/>
                <a:gd name="T1" fmla="*/ 1 h 33"/>
                <a:gd name="T2" fmla="*/ 0 w 12"/>
                <a:gd name="T3" fmla="*/ 0 h 33"/>
                <a:gd name="T4" fmla="*/ 0 w 12"/>
                <a:gd name="T5" fmla="*/ 26 h 33"/>
                <a:gd name="T6" fmla="*/ 6 w 12"/>
                <a:gd name="T7" fmla="*/ 33 h 33"/>
                <a:gd name="T8" fmla="*/ 12 w 12"/>
                <a:gd name="T9" fmla="*/ 26 h 33"/>
                <a:gd name="T10" fmla="*/ 12 w 12"/>
                <a:gd name="T11" fmla="*/ 0 h 33"/>
                <a:gd name="T12" fmla="*/ 6 w 12"/>
                <a:gd name="T13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3">
                  <a:moveTo>
                    <a:pt x="6" y="1"/>
                  </a:moveTo>
                  <a:cubicBezTo>
                    <a:pt x="4" y="1"/>
                    <a:pt x="2" y="0"/>
                    <a:pt x="0" y="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30"/>
                    <a:pt x="2" y="33"/>
                    <a:pt x="6" y="33"/>
                  </a:cubicBezTo>
                  <a:cubicBezTo>
                    <a:pt x="10" y="33"/>
                    <a:pt x="12" y="30"/>
                    <a:pt x="12" y="2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0" y="0"/>
                    <a:pt x="8" y="1"/>
                    <a:pt x="6" y="1"/>
                  </a:cubicBezTo>
                  <a:close/>
                </a:path>
              </a:pathLst>
            </a:custGeom>
            <a:solidFill>
              <a:srgbClr val="B6BC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8" name="Oval 109">
              <a:extLst>
                <a:ext uri="{FF2B5EF4-FFF2-40B4-BE49-F238E27FC236}">
                  <a16:creationId xmlns:a16="http://schemas.microsoft.com/office/drawing/2014/main" id="{F4E0B1D8-B251-4061-9813-8BF427DA61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54588" y="2212975"/>
              <a:ext cx="144463" cy="147638"/>
            </a:xfrm>
            <a:prstGeom prst="ellipse">
              <a:avLst/>
            </a:pr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9" name="Freeform 110">
              <a:extLst>
                <a:ext uri="{FF2B5EF4-FFF2-40B4-BE49-F238E27FC236}">
                  <a16:creationId xmlns:a16="http://schemas.microsoft.com/office/drawing/2014/main" id="{9887B520-8CA5-4418-B1E2-F8918D6D49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4588" y="2212975"/>
              <a:ext cx="122238" cy="120650"/>
            </a:xfrm>
            <a:custGeom>
              <a:avLst/>
              <a:gdLst>
                <a:gd name="T0" fmla="*/ 19 w 32"/>
                <a:gd name="T1" fmla="*/ 0 h 32"/>
                <a:gd name="T2" fmla="*/ 0 w 32"/>
                <a:gd name="T3" fmla="*/ 20 h 32"/>
                <a:gd name="T4" fmla="*/ 4 w 32"/>
                <a:gd name="T5" fmla="*/ 32 h 32"/>
                <a:gd name="T6" fmla="*/ 32 w 32"/>
                <a:gd name="T7" fmla="*/ 5 h 32"/>
                <a:gd name="T8" fmla="*/ 19 w 32"/>
                <a:gd name="T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32">
                  <a:moveTo>
                    <a:pt x="19" y="0"/>
                  </a:moveTo>
                  <a:cubicBezTo>
                    <a:pt x="8" y="0"/>
                    <a:pt x="0" y="9"/>
                    <a:pt x="0" y="20"/>
                  </a:cubicBezTo>
                  <a:cubicBezTo>
                    <a:pt x="0" y="24"/>
                    <a:pt x="2" y="29"/>
                    <a:pt x="4" y="32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28" y="2"/>
                    <a:pt x="24" y="0"/>
                    <a:pt x="19" y="0"/>
                  </a:cubicBez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4EDD291A-97C6-4072-9B9B-62AB2B71E4E1}"/>
              </a:ext>
            </a:extLst>
          </p:cNvPr>
          <p:cNvGrpSpPr/>
          <p:nvPr/>
        </p:nvGrpSpPr>
        <p:grpSpPr>
          <a:xfrm>
            <a:off x="4943638" y="1908197"/>
            <a:ext cx="297456" cy="297457"/>
            <a:chOff x="6773863" y="639763"/>
            <a:chExt cx="771525" cy="771526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42" name="Freeform 54">
              <a:extLst>
                <a:ext uri="{FF2B5EF4-FFF2-40B4-BE49-F238E27FC236}">
                  <a16:creationId xmlns:a16="http://schemas.microsoft.com/office/drawing/2014/main" id="{2B6905E7-AEE6-4F85-B987-B73097E2E0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3863" y="684213"/>
              <a:ext cx="771525" cy="147638"/>
            </a:xfrm>
            <a:custGeom>
              <a:avLst/>
              <a:gdLst>
                <a:gd name="T0" fmla="*/ 204 w 204"/>
                <a:gd name="T1" fmla="*/ 39 h 39"/>
                <a:gd name="T2" fmla="*/ 0 w 204"/>
                <a:gd name="T3" fmla="*/ 39 h 39"/>
                <a:gd name="T4" fmla="*/ 0 w 204"/>
                <a:gd name="T5" fmla="*/ 20 h 39"/>
                <a:gd name="T6" fmla="*/ 19 w 204"/>
                <a:gd name="T7" fmla="*/ 0 h 39"/>
                <a:gd name="T8" fmla="*/ 185 w 204"/>
                <a:gd name="T9" fmla="*/ 0 h 39"/>
                <a:gd name="T10" fmla="*/ 204 w 204"/>
                <a:gd name="T11" fmla="*/ 20 h 39"/>
                <a:gd name="T12" fmla="*/ 204 w 204"/>
                <a:gd name="T1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39">
                  <a:moveTo>
                    <a:pt x="204" y="39"/>
                  </a:moveTo>
                  <a:cubicBezTo>
                    <a:pt x="0" y="39"/>
                    <a:pt x="0" y="39"/>
                    <a:pt x="0" y="39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8" y="0"/>
                    <a:pt x="19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96" y="0"/>
                    <a:pt x="204" y="9"/>
                    <a:pt x="204" y="20"/>
                  </a:cubicBezTo>
                  <a:lnTo>
                    <a:pt x="204" y="39"/>
                  </a:ln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3" name="Freeform 55">
              <a:extLst>
                <a:ext uri="{FF2B5EF4-FFF2-40B4-BE49-F238E27FC236}">
                  <a16:creationId xmlns:a16="http://schemas.microsoft.com/office/drawing/2014/main" id="{E90D9BBF-C080-47A0-A4F8-E5A6BF2ADC6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3863" y="684213"/>
              <a:ext cx="355600" cy="147638"/>
            </a:xfrm>
            <a:custGeom>
              <a:avLst/>
              <a:gdLst>
                <a:gd name="T0" fmla="*/ 94 w 94"/>
                <a:gd name="T1" fmla="*/ 0 h 39"/>
                <a:gd name="T2" fmla="*/ 19 w 94"/>
                <a:gd name="T3" fmla="*/ 0 h 39"/>
                <a:gd name="T4" fmla="*/ 0 w 94"/>
                <a:gd name="T5" fmla="*/ 20 h 39"/>
                <a:gd name="T6" fmla="*/ 0 w 94"/>
                <a:gd name="T7" fmla="*/ 39 h 39"/>
                <a:gd name="T8" fmla="*/ 55 w 94"/>
                <a:gd name="T9" fmla="*/ 39 h 39"/>
                <a:gd name="T10" fmla="*/ 94 w 94"/>
                <a:gd name="T1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4" h="39">
                  <a:moveTo>
                    <a:pt x="94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8" y="0"/>
                    <a:pt x="0" y="9"/>
                    <a:pt x="0" y="2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55" y="39"/>
                    <a:pt x="55" y="39"/>
                    <a:pt x="55" y="39"/>
                  </a:cubicBezTo>
                  <a:lnTo>
                    <a:pt x="94" y="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4" name="Freeform 56">
              <a:extLst>
                <a:ext uri="{FF2B5EF4-FFF2-40B4-BE49-F238E27FC236}">
                  <a16:creationId xmlns:a16="http://schemas.microsoft.com/office/drawing/2014/main" id="{B3965068-7E78-44B4-A0DF-5A570EF5335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3863" y="831851"/>
              <a:ext cx="771525" cy="579438"/>
            </a:xfrm>
            <a:custGeom>
              <a:avLst/>
              <a:gdLst>
                <a:gd name="T0" fmla="*/ 204 w 204"/>
                <a:gd name="T1" fmla="*/ 134 h 153"/>
                <a:gd name="T2" fmla="*/ 185 w 204"/>
                <a:gd name="T3" fmla="*/ 153 h 153"/>
                <a:gd name="T4" fmla="*/ 19 w 204"/>
                <a:gd name="T5" fmla="*/ 153 h 153"/>
                <a:gd name="T6" fmla="*/ 0 w 204"/>
                <a:gd name="T7" fmla="*/ 134 h 153"/>
                <a:gd name="T8" fmla="*/ 0 w 204"/>
                <a:gd name="T9" fmla="*/ 0 h 153"/>
                <a:gd name="T10" fmla="*/ 204 w 204"/>
                <a:gd name="T11" fmla="*/ 0 h 153"/>
                <a:gd name="T12" fmla="*/ 204 w 204"/>
                <a:gd name="T13" fmla="*/ 134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153">
                  <a:moveTo>
                    <a:pt x="204" y="134"/>
                  </a:moveTo>
                  <a:cubicBezTo>
                    <a:pt x="204" y="145"/>
                    <a:pt x="196" y="153"/>
                    <a:pt x="185" y="153"/>
                  </a:cubicBezTo>
                  <a:cubicBezTo>
                    <a:pt x="19" y="153"/>
                    <a:pt x="19" y="153"/>
                    <a:pt x="19" y="153"/>
                  </a:cubicBezTo>
                  <a:cubicBezTo>
                    <a:pt x="8" y="153"/>
                    <a:pt x="0" y="145"/>
                    <a:pt x="0" y="13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4" y="0"/>
                    <a:pt x="204" y="0"/>
                    <a:pt x="204" y="0"/>
                  </a:cubicBezTo>
                  <a:lnTo>
                    <a:pt x="204" y="1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5" name="Rectangle 57">
              <a:extLst>
                <a:ext uri="{FF2B5EF4-FFF2-40B4-BE49-F238E27FC236}">
                  <a16:creationId xmlns:a16="http://schemas.microsoft.com/office/drawing/2014/main" id="{7D5C7B2C-57A4-4890-B35C-E5029E67A8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38976" y="927101"/>
              <a:ext cx="120650" cy="109538"/>
            </a:xfrm>
            <a:prstGeom prst="rect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6" name="Rectangle 58">
              <a:extLst>
                <a:ext uri="{FF2B5EF4-FFF2-40B4-BE49-F238E27FC236}">
                  <a16:creationId xmlns:a16="http://schemas.microsoft.com/office/drawing/2014/main" id="{E7C2DA72-80C6-4D91-8AD8-FB847F294D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7863" y="1063626"/>
              <a:ext cx="120650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7" name="Rectangle 59">
              <a:extLst>
                <a:ext uri="{FF2B5EF4-FFF2-40B4-BE49-F238E27FC236}">
                  <a16:creationId xmlns:a16="http://schemas.microsoft.com/office/drawing/2014/main" id="{D0DF3C8C-23E1-46B0-8275-E219071EFE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1063626"/>
              <a:ext cx="122238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8" name="Rectangle 60">
              <a:extLst>
                <a:ext uri="{FF2B5EF4-FFF2-40B4-BE49-F238E27FC236}">
                  <a16:creationId xmlns:a16="http://schemas.microsoft.com/office/drawing/2014/main" id="{89F4AC21-18F0-4CEF-B33B-A39146D1A9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9113" y="927101"/>
              <a:ext cx="131763" cy="109538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9" name="Rectangle 61">
              <a:extLst>
                <a:ext uri="{FF2B5EF4-FFF2-40B4-BE49-F238E27FC236}">
                  <a16:creationId xmlns:a16="http://schemas.microsoft.com/office/drawing/2014/main" id="{1CA3C9A2-8169-4B5E-A1A9-FAE7BEA33B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927101"/>
              <a:ext cx="122238" cy="109538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0" name="Rectangle 62">
              <a:extLst>
                <a:ext uri="{FF2B5EF4-FFF2-40B4-BE49-F238E27FC236}">
                  <a16:creationId xmlns:a16="http://schemas.microsoft.com/office/drawing/2014/main" id="{7B59A263-393F-482C-8DBE-5DE8C11E40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1195388"/>
              <a:ext cx="122238" cy="120650"/>
            </a:xfrm>
            <a:prstGeom prst="rect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1" name="Rectangle 63">
              <a:extLst>
                <a:ext uri="{FF2B5EF4-FFF2-40B4-BE49-F238E27FC236}">
                  <a16:creationId xmlns:a16="http://schemas.microsoft.com/office/drawing/2014/main" id="{C61CBAC0-16F3-4F1D-9E33-0A6718F442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8376" y="1063626"/>
              <a:ext cx="120650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2" name="Rectangle 64">
              <a:extLst>
                <a:ext uri="{FF2B5EF4-FFF2-40B4-BE49-F238E27FC236}">
                  <a16:creationId xmlns:a16="http://schemas.microsoft.com/office/drawing/2014/main" id="{ED08D041-F6C0-4B78-8379-903C523C0E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8376" y="927101"/>
              <a:ext cx="120650" cy="109538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3" name="Rectangle 65">
              <a:extLst>
                <a:ext uri="{FF2B5EF4-FFF2-40B4-BE49-F238E27FC236}">
                  <a16:creationId xmlns:a16="http://schemas.microsoft.com/office/drawing/2014/main" id="{69BF23A6-125A-4788-AAE5-708C6C7B70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8376" y="1195388"/>
              <a:ext cx="120650" cy="120650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4" name="Rectangle 66">
              <a:extLst>
                <a:ext uri="{FF2B5EF4-FFF2-40B4-BE49-F238E27FC236}">
                  <a16:creationId xmlns:a16="http://schemas.microsoft.com/office/drawing/2014/main" id="{B6E6F684-2513-4D36-AC21-A0F7128317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9113" y="1063626"/>
              <a:ext cx="131763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5" name="Rectangle 67">
              <a:extLst>
                <a:ext uri="{FF2B5EF4-FFF2-40B4-BE49-F238E27FC236}">
                  <a16:creationId xmlns:a16="http://schemas.microsoft.com/office/drawing/2014/main" id="{B55F9D66-BFDB-4939-A5EF-D8373DC719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9113" y="1195388"/>
              <a:ext cx="131763" cy="120650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6" name="Rectangle 68">
              <a:extLst>
                <a:ext uri="{FF2B5EF4-FFF2-40B4-BE49-F238E27FC236}">
                  <a16:creationId xmlns:a16="http://schemas.microsoft.com/office/drawing/2014/main" id="{E643468B-0731-4E81-AFFF-C0D07572BD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7863" y="1195388"/>
              <a:ext cx="120650" cy="120650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7" name="Freeform 69">
              <a:extLst>
                <a:ext uri="{FF2B5EF4-FFF2-40B4-BE49-F238E27FC236}">
                  <a16:creationId xmlns:a16="http://schemas.microsoft.com/office/drawing/2014/main" id="{1A66EBE6-109C-4300-A350-5914F15512F9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9113" y="639763"/>
              <a:ext cx="71438" cy="142875"/>
            </a:xfrm>
            <a:custGeom>
              <a:avLst/>
              <a:gdLst>
                <a:gd name="T0" fmla="*/ 19 w 19"/>
                <a:gd name="T1" fmla="*/ 28 h 38"/>
                <a:gd name="T2" fmla="*/ 10 w 19"/>
                <a:gd name="T3" fmla="*/ 38 h 38"/>
                <a:gd name="T4" fmla="*/ 0 w 19"/>
                <a:gd name="T5" fmla="*/ 28 h 38"/>
                <a:gd name="T6" fmla="*/ 0 w 19"/>
                <a:gd name="T7" fmla="*/ 9 h 38"/>
                <a:gd name="T8" fmla="*/ 10 w 19"/>
                <a:gd name="T9" fmla="*/ 0 h 38"/>
                <a:gd name="T10" fmla="*/ 19 w 19"/>
                <a:gd name="T11" fmla="*/ 9 h 38"/>
                <a:gd name="T12" fmla="*/ 19 w 19"/>
                <a:gd name="T13" fmla="*/ 2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8">
                  <a:moveTo>
                    <a:pt x="19" y="28"/>
                  </a:moveTo>
                  <a:cubicBezTo>
                    <a:pt x="19" y="34"/>
                    <a:pt x="15" y="38"/>
                    <a:pt x="10" y="38"/>
                  </a:cubicBezTo>
                  <a:cubicBezTo>
                    <a:pt x="5" y="38"/>
                    <a:pt x="0" y="34"/>
                    <a:pt x="0" y="2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5" y="0"/>
                    <a:pt x="10" y="0"/>
                  </a:cubicBezTo>
                  <a:cubicBezTo>
                    <a:pt x="15" y="0"/>
                    <a:pt x="19" y="4"/>
                    <a:pt x="19" y="9"/>
                  </a:cubicBezTo>
                  <a:lnTo>
                    <a:pt x="19" y="28"/>
                  </a:ln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8" name="Freeform 70">
              <a:extLst>
                <a:ext uri="{FF2B5EF4-FFF2-40B4-BE49-F238E27FC236}">
                  <a16:creationId xmlns:a16="http://schemas.microsoft.com/office/drawing/2014/main" id="{3E27F4D3-31DA-420C-A1F8-B26E1C65793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8701" y="639763"/>
              <a:ext cx="73025" cy="142875"/>
            </a:xfrm>
            <a:custGeom>
              <a:avLst/>
              <a:gdLst>
                <a:gd name="T0" fmla="*/ 19 w 19"/>
                <a:gd name="T1" fmla="*/ 28 h 38"/>
                <a:gd name="T2" fmla="*/ 9 w 19"/>
                <a:gd name="T3" fmla="*/ 38 h 38"/>
                <a:gd name="T4" fmla="*/ 0 w 19"/>
                <a:gd name="T5" fmla="*/ 28 h 38"/>
                <a:gd name="T6" fmla="*/ 0 w 19"/>
                <a:gd name="T7" fmla="*/ 9 h 38"/>
                <a:gd name="T8" fmla="*/ 9 w 19"/>
                <a:gd name="T9" fmla="*/ 0 h 38"/>
                <a:gd name="T10" fmla="*/ 19 w 19"/>
                <a:gd name="T11" fmla="*/ 9 h 38"/>
                <a:gd name="T12" fmla="*/ 19 w 19"/>
                <a:gd name="T13" fmla="*/ 2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8">
                  <a:moveTo>
                    <a:pt x="19" y="28"/>
                  </a:moveTo>
                  <a:cubicBezTo>
                    <a:pt x="19" y="34"/>
                    <a:pt x="14" y="38"/>
                    <a:pt x="9" y="38"/>
                  </a:cubicBezTo>
                  <a:cubicBezTo>
                    <a:pt x="4" y="38"/>
                    <a:pt x="0" y="34"/>
                    <a:pt x="0" y="2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9" y="4"/>
                    <a:pt x="19" y="9"/>
                  </a:cubicBezTo>
                  <a:lnTo>
                    <a:pt x="19" y="28"/>
                  </a:ln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9" name="Freeform 71">
              <a:extLst>
                <a:ext uri="{FF2B5EF4-FFF2-40B4-BE49-F238E27FC236}">
                  <a16:creationId xmlns:a16="http://schemas.microsoft.com/office/drawing/2014/main" id="{A87C7B80-9060-44B6-989F-BDB4B6E0A26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1526" y="639763"/>
              <a:ext cx="76200" cy="142875"/>
            </a:xfrm>
            <a:custGeom>
              <a:avLst/>
              <a:gdLst>
                <a:gd name="T0" fmla="*/ 20 w 20"/>
                <a:gd name="T1" fmla="*/ 28 h 38"/>
                <a:gd name="T2" fmla="*/ 10 w 20"/>
                <a:gd name="T3" fmla="*/ 38 h 38"/>
                <a:gd name="T4" fmla="*/ 0 w 20"/>
                <a:gd name="T5" fmla="*/ 28 h 38"/>
                <a:gd name="T6" fmla="*/ 0 w 20"/>
                <a:gd name="T7" fmla="*/ 9 h 38"/>
                <a:gd name="T8" fmla="*/ 10 w 20"/>
                <a:gd name="T9" fmla="*/ 0 h 38"/>
                <a:gd name="T10" fmla="*/ 20 w 20"/>
                <a:gd name="T11" fmla="*/ 9 h 38"/>
                <a:gd name="T12" fmla="*/ 20 w 20"/>
                <a:gd name="T13" fmla="*/ 2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38">
                  <a:moveTo>
                    <a:pt x="20" y="28"/>
                  </a:moveTo>
                  <a:cubicBezTo>
                    <a:pt x="20" y="34"/>
                    <a:pt x="15" y="38"/>
                    <a:pt x="10" y="38"/>
                  </a:cubicBezTo>
                  <a:cubicBezTo>
                    <a:pt x="5" y="38"/>
                    <a:pt x="0" y="34"/>
                    <a:pt x="0" y="2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5" y="0"/>
                    <a:pt x="10" y="0"/>
                  </a:cubicBezTo>
                  <a:cubicBezTo>
                    <a:pt x="15" y="0"/>
                    <a:pt x="20" y="4"/>
                    <a:pt x="20" y="9"/>
                  </a:cubicBezTo>
                  <a:lnTo>
                    <a:pt x="20" y="28"/>
                  </a:ln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3" name="Picture 2" descr="A red and blue text on a black background&#10;&#10;Description automatically generated">
            <a:extLst>
              <a:ext uri="{FF2B5EF4-FFF2-40B4-BE49-F238E27FC236}">
                <a16:creationId xmlns:a16="http://schemas.microsoft.com/office/drawing/2014/main" id="{5624CF4E-1479-88EB-ABC1-63CFE281A7F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5979" y="-499613"/>
            <a:ext cx="1808680" cy="180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82258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0778EFC-CC57-4EF6-89FF-014E742142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0778EFC-CC57-4EF6-89FF-014E742142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ángulo 6175">
            <a:extLst>
              <a:ext uri="{FF2B5EF4-FFF2-40B4-BE49-F238E27FC236}">
                <a16:creationId xmlns:a16="http://schemas.microsoft.com/office/drawing/2014/main" id="{86A51F14-CEC0-4873-B851-90AD5CCD0617}"/>
              </a:ext>
            </a:extLst>
          </p:cNvPr>
          <p:cNvSpPr/>
          <p:nvPr/>
        </p:nvSpPr>
        <p:spPr>
          <a:xfrm>
            <a:off x="7913" y="4500462"/>
            <a:ext cx="12214702" cy="2387600"/>
          </a:xfrm>
          <a:prstGeom prst="rect">
            <a:avLst/>
          </a:pr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任意多边形: 形状 16">
            <a:extLst>
              <a:ext uri="{FF2B5EF4-FFF2-40B4-BE49-F238E27FC236}">
                <a16:creationId xmlns:a16="http://schemas.microsoft.com/office/drawing/2014/main" id="{049CEE6A-F0A8-4DFA-9341-6025BABA637D}"/>
              </a:ext>
            </a:extLst>
          </p:cNvPr>
          <p:cNvSpPr/>
          <p:nvPr/>
        </p:nvSpPr>
        <p:spPr>
          <a:xfrm>
            <a:off x="0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7" name="Freeform 46">
            <a:extLst>
              <a:ext uri="{FF2B5EF4-FFF2-40B4-BE49-F238E27FC236}">
                <a16:creationId xmlns:a16="http://schemas.microsoft.com/office/drawing/2014/main" id="{6FF0B403-FADC-424A-A227-59D6B88F2456}"/>
              </a:ext>
            </a:extLst>
          </p:cNvPr>
          <p:cNvSpPr/>
          <p:nvPr/>
        </p:nvSpPr>
        <p:spPr>
          <a:xfrm>
            <a:off x="669963" y="1204256"/>
            <a:ext cx="6833921" cy="4449489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B2A14CA-B27E-4A65-85F3-621B5BA14675}"/>
              </a:ext>
            </a:extLst>
          </p:cNvPr>
          <p:cNvSpPr/>
          <p:nvPr/>
        </p:nvSpPr>
        <p:spPr>
          <a:xfrm>
            <a:off x="1104477" y="0"/>
            <a:ext cx="1175537" cy="1385657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F1280CC-AF01-4FA6-9B49-8F44EB574ACE}"/>
              </a:ext>
            </a:extLst>
          </p:cNvPr>
          <p:cNvSpPr/>
          <p:nvPr/>
        </p:nvSpPr>
        <p:spPr>
          <a:xfrm>
            <a:off x="1104477" y="769023"/>
            <a:ext cx="1175537" cy="1175537"/>
          </a:xfrm>
          <a:prstGeom prst="ellipse">
            <a:avLst/>
          </a:prstGeom>
          <a:solidFill>
            <a:srgbClr val="D0101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EF99D574-3FCD-4173-937D-0FA446AEB9D2}"/>
              </a:ext>
            </a:extLst>
          </p:cNvPr>
          <p:cNvSpPr/>
          <p:nvPr/>
        </p:nvSpPr>
        <p:spPr>
          <a:xfrm>
            <a:off x="1324575" y="991834"/>
            <a:ext cx="729915" cy="72991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任意多边形: 形状 16">
            <a:extLst>
              <a:ext uri="{FF2B5EF4-FFF2-40B4-BE49-F238E27FC236}">
                <a16:creationId xmlns:a16="http://schemas.microsoft.com/office/drawing/2014/main" id="{CD17D5EF-C3CA-430D-8D78-9B7A4A92E88A}"/>
              </a:ext>
            </a:extLst>
          </p:cNvPr>
          <p:cNvSpPr/>
          <p:nvPr/>
        </p:nvSpPr>
        <p:spPr>
          <a:xfrm rot="16200000">
            <a:off x="8077322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任意多边形: 形状 16">
            <a:extLst>
              <a:ext uri="{FF2B5EF4-FFF2-40B4-BE49-F238E27FC236}">
                <a16:creationId xmlns:a16="http://schemas.microsoft.com/office/drawing/2014/main" id="{CC5943E8-7862-4DAC-87C4-7F35D6FBC9CD}"/>
              </a:ext>
            </a:extLst>
          </p:cNvPr>
          <p:cNvSpPr/>
          <p:nvPr/>
        </p:nvSpPr>
        <p:spPr>
          <a:xfrm rot="16200000">
            <a:off x="8077322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Rectángulo 6175">
            <a:extLst>
              <a:ext uri="{FF2B5EF4-FFF2-40B4-BE49-F238E27FC236}">
                <a16:creationId xmlns:a16="http://schemas.microsoft.com/office/drawing/2014/main" id="{8B9CA6E7-7271-4C1A-9106-2069F65592DD}"/>
              </a:ext>
            </a:extLst>
          </p:cNvPr>
          <p:cNvSpPr/>
          <p:nvPr/>
        </p:nvSpPr>
        <p:spPr>
          <a:xfrm>
            <a:off x="9681028" y="0"/>
            <a:ext cx="2533673" cy="68580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ángulo 6175">
            <a:extLst>
              <a:ext uri="{FF2B5EF4-FFF2-40B4-BE49-F238E27FC236}">
                <a16:creationId xmlns:a16="http://schemas.microsoft.com/office/drawing/2014/main" id="{63057CCC-8D68-4B3B-A6A3-B3A9F797FE6D}"/>
              </a:ext>
            </a:extLst>
          </p:cNvPr>
          <p:cNvSpPr/>
          <p:nvPr/>
        </p:nvSpPr>
        <p:spPr>
          <a:xfrm>
            <a:off x="11829143" y="0"/>
            <a:ext cx="385557" cy="6858000"/>
          </a:xfrm>
          <a:prstGeom prst="rect">
            <a:avLst/>
          </a:pr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任意多边形: 形状 16">
            <a:extLst>
              <a:ext uri="{FF2B5EF4-FFF2-40B4-BE49-F238E27FC236}">
                <a16:creationId xmlns:a16="http://schemas.microsoft.com/office/drawing/2014/main" id="{BFC38C69-061C-4D96-8765-E5AE867E3A82}"/>
              </a:ext>
            </a:extLst>
          </p:cNvPr>
          <p:cNvSpPr/>
          <p:nvPr/>
        </p:nvSpPr>
        <p:spPr>
          <a:xfrm rot="16200000">
            <a:off x="10254466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任意多边形: 形状 16">
            <a:extLst>
              <a:ext uri="{FF2B5EF4-FFF2-40B4-BE49-F238E27FC236}">
                <a16:creationId xmlns:a16="http://schemas.microsoft.com/office/drawing/2014/main" id="{1FE673F1-E8EA-4A14-BD79-3511A9C956BC}"/>
              </a:ext>
            </a:extLst>
          </p:cNvPr>
          <p:cNvSpPr/>
          <p:nvPr/>
        </p:nvSpPr>
        <p:spPr>
          <a:xfrm rot="16200000">
            <a:off x="10254466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Freeform 46">
            <a:extLst>
              <a:ext uri="{FF2B5EF4-FFF2-40B4-BE49-F238E27FC236}">
                <a16:creationId xmlns:a16="http://schemas.microsoft.com/office/drawing/2014/main" id="{69D15F79-29F9-45CC-9D3C-E64A8C4AE0FA}"/>
              </a:ext>
            </a:extLst>
          </p:cNvPr>
          <p:cNvSpPr/>
          <p:nvPr/>
        </p:nvSpPr>
        <p:spPr>
          <a:xfrm>
            <a:off x="6666889" y="1204256"/>
            <a:ext cx="5547811" cy="4449489"/>
          </a:xfrm>
          <a:custGeom>
            <a:avLst/>
            <a:gdLst>
              <a:gd name="connsiteX0" fmla="*/ 741596 w 6762750"/>
              <a:gd name="connsiteY0" fmla="*/ 0 h 4449489"/>
              <a:gd name="connsiteX1" fmla="*/ 6762750 w 6762750"/>
              <a:gd name="connsiteY1" fmla="*/ 0 h 4449489"/>
              <a:gd name="connsiteX2" fmla="*/ 6762750 w 6762750"/>
              <a:gd name="connsiteY2" fmla="*/ 4449489 h 4449489"/>
              <a:gd name="connsiteX3" fmla="*/ 741596 w 6762750"/>
              <a:gd name="connsiteY3" fmla="*/ 4449489 h 4449489"/>
              <a:gd name="connsiteX4" fmla="*/ 0 w 6762750"/>
              <a:gd name="connsiteY4" fmla="*/ 3707893 h 4449489"/>
              <a:gd name="connsiteX5" fmla="*/ 0 w 6762750"/>
              <a:gd name="connsiteY5" fmla="*/ 741596 h 4449489"/>
              <a:gd name="connsiteX6" fmla="*/ 741596 w 6762750"/>
              <a:gd name="connsiteY6" fmla="*/ 0 h 4449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62750" h="4449489">
                <a:moveTo>
                  <a:pt x="741596" y="0"/>
                </a:moveTo>
                <a:lnTo>
                  <a:pt x="6762750" y="0"/>
                </a:lnTo>
                <a:lnTo>
                  <a:pt x="6762750" y="4449489"/>
                </a:lnTo>
                <a:lnTo>
                  <a:pt x="741596" y="4449489"/>
                </a:lnTo>
                <a:cubicBezTo>
                  <a:pt x="332024" y="4449489"/>
                  <a:pt x="0" y="4117465"/>
                  <a:pt x="0" y="3707893"/>
                </a:cubicBezTo>
                <a:lnTo>
                  <a:pt x="0" y="741596"/>
                </a:lnTo>
                <a:cubicBezTo>
                  <a:pt x="0" y="332024"/>
                  <a:pt x="332024" y="0"/>
                  <a:pt x="741596" y="0"/>
                </a:cubicBez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A1F34D-EB98-4CAD-A1DE-7AC573B10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3613" y="2184696"/>
            <a:ext cx="4303725" cy="741568"/>
          </a:xfrm>
        </p:spPr>
        <p:txBody>
          <a:bodyPr lIns="0" rIns="0">
            <a:normAutofit fontScale="90000"/>
          </a:bodyPr>
          <a:lstStyle/>
          <a:p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frastructure Managemen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0C835E6-5275-478D-B06E-63B529F28218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8EDDE3A-9B37-43A6-8AC5-022DDD0AA58E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0B669C6-75C7-488F-90E7-B0037991E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53" name="Picture 52" descr="Background pattern&#10;&#10;Description automatically generated">
            <a:extLst>
              <a:ext uri="{FF2B5EF4-FFF2-40B4-BE49-F238E27FC236}">
                <a16:creationId xmlns:a16="http://schemas.microsoft.com/office/drawing/2014/main" id="{E1377084-21E0-42A7-B144-A69CF5A6D83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92413" y="1385657"/>
            <a:ext cx="5322288" cy="4021639"/>
          </a:xfrm>
          <a:custGeom>
            <a:avLst/>
            <a:gdLst>
              <a:gd name="connsiteX0" fmla="*/ 655598 w 5978515"/>
              <a:gd name="connsiteY0" fmla="*/ 0 h 4021639"/>
              <a:gd name="connsiteX1" fmla="*/ 5978515 w 5978515"/>
              <a:gd name="connsiteY1" fmla="*/ 0 h 4021639"/>
              <a:gd name="connsiteX2" fmla="*/ 5978515 w 5978515"/>
              <a:gd name="connsiteY2" fmla="*/ 4021639 h 4021639"/>
              <a:gd name="connsiteX3" fmla="*/ 655598 w 5978515"/>
              <a:gd name="connsiteY3" fmla="*/ 4021639 h 4021639"/>
              <a:gd name="connsiteX4" fmla="*/ 0 w 5978515"/>
              <a:gd name="connsiteY4" fmla="*/ 3351353 h 4021639"/>
              <a:gd name="connsiteX5" fmla="*/ 0 w 5978515"/>
              <a:gd name="connsiteY5" fmla="*/ 670286 h 4021639"/>
              <a:gd name="connsiteX6" fmla="*/ 655598 w 5978515"/>
              <a:gd name="connsiteY6" fmla="*/ 0 h 4021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78515" h="4021639">
                <a:moveTo>
                  <a:pt x="655598" y="0"/>
                </a:moveTo>
                <a:lnTo>
                  <a:pt x="5978515" y="0"/>
                </a:lnTo>
                <a:lnTo>
                  <a:pt x="5978515" y="4021639"/>
                </a:lnTo>
                <a:lnTo>
                  <a:pt x="655598" y="4021639"/>
                </a:lnTo>
                <a:cubicBezTo>
                  <a:pt x="293521" y="4021639"/>
                  <a:pt x="0" y="3721542"/>
                  <a:pt x="0" y="3351353"/>
                </a:cubicBezTo>
                <a:lnTo>
                  <a:pt x="0" y="670286"/>
                </a:lnTo>
                <a:cubicBezTo>
                  <a:pt x="0" y="300098"/>
                  <a:pt x="293521" y="0"/>
                  <a:pt x="655598" y="0"/>
                </a:cubicBezTo>
                <a:close/>
              </a:path>
            </a:pathLst>
          </a:cu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09971475-858B-487D-8875-A846C5AC2D16}"/>
              </a:ext>
            </a:extLst>
          </p:cNvPr>
          <p:cNvGrpSpPr/>
          <p:nvPr/>
        </p:nvGrpSpPr>
        <p:grpSpPr>
          <a:xfrm>
            <a:off x="1495252" y="1172799"/>
            <a:ext cx="388560" cy="367985"/>
            <a:chOff x="2805113" y="2247901"/>
            <a:chExt cx="779462" cy="738188"/>
          </a:xfrm>
          <a:effectLst>
            <a:outerShdw dist="635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8" name="Freeform 78">
              <a:extLst>
                <a:ext uri="{FF2B5EF4-FFF2-40B4-BE49-F238E27FC236}">
                  <a16:creationId xmlns:a16="http://schemas.microsoft.com/office/drawing/2014/main" id="{B7664ACB-8C2A-436E-89EA-05BADF299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6725" y="2247901"/>
              <a:ext cx="577850" cy="738188"/>
            </a:xfrm>
            <a:custGeom>
              <a:avLst/>
              <a:gdLst>
                <a:gd name="T0" fmla="*/ 115 w 153"/>
                <a:gd name="T1" fmla="*/ 0 h 195"/>
                <a:gd name="T2" fmla="*/ 6 w 153"/>
                <a:gd name="T3" fmla="*/ 0 h 195"/>
                <a:gd name="T4" fmla="*/ 0 w 153"/>
                <a:gd name="T5" fmla="*/ 7 h 195"/>
                <a:gd name="T6" fmla="*/ 0 w 153"/>
                <a:gd name="T7" fmla="*/ 195 h 195"/>
                <a:gd name="T8" fmla="*/ 153 w 153"/>
                <a:gd name="T9" fmla="*/ 195 h 195"/>
                <a:gd name="T10" fmla="*/ 153 w 153"/>
                <a:gd name="T11" fmla="*/ 39 h 195"/>
                <a:gd name="T12" fmla="*/ 115 w 153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195">
                  <a:moveTo>
                    <a:pt x="11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153" y="195"/>
                    <a:pt x="153" y="195"/>
                    <a:pt x="153" y="195"/>
                  </a:cubicBezTo>
                  <a:cubicBezTo>
                    <a:pt x="153" y="39"/>
                    <a:pt x="153" y="39"/>
                    <a:pt x="153" y="39"/>
                  </a:cubicBezTo>
                  <a:lnTo>
                    <a:pt x="1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79">
              <a:extLst>
                <a:ext uri="{FF2B5EF4-FFF2-40B4-BE49-F238E27FC236}">
                  <a16:creationId xmlns:a16="http://schemas.microsoft.com/office/drawing/2014/main" id="{D93500A6-717D-481E-8FE5-C94376441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1700" y="2247901"/>
              <a:ext cx="142875" cy="147638"/>
            </a:xfrm>
            <a:custGeom>
              <a:avLst/>
              <a:gdLst>
                <a:gd name="T0" fmla="*/ 0 w 90"/>
                <a:gd name="T1" fmla="*/ 0 h 93"/>
                <a:gd name="T2" fmla="*/ 0 w 90"/>
                <a:gd name="T3" fmla="*/ 93 h 93"/>
                <a:gd name="T4" fmla="*/ 90 w 90"/>
                <a:gd name="T5" fmla="*/ 93 h 93"/>
                <a:gd name="T6" fmla="*/ 0 w 90"/>
                <a:gd name="T7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93">
                  <a:moveTo>
                    <a:pt x="0" y="0"/>
                  </a:moveTo>
                  <a:lnTo>
                    <a:pt x="0" y="93"/>
                  </a:lnTo>
                  <a:lnTo>
                    <a:pt x="90" y="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80">
              <a:extLst>
                <a:ext uri="{FF2B5EF4-FFF2-40B4-BE49-F238E27FC236}">
                  <a16:creationId xmlns:a16="http://schemas.microsoft.com/office/drawing/2014/main" id="{F83B5C6C-2A4B-4C64-BA1F-7B4883CCD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419351"/>
              <a:ext cx="242888" cy="22225"/>
            </a:xfrm>
            <a:custGeom>
              <a:avLst/>
              <a:gdLst>
                <a:gd name="T0" fmla="*/ 64 w 64"/>
                <a:gd name="T1" fmla="*/ 3 h 6"/>
                <a:gd name="T2" fmla="*/ 61 w 64"/>
                <a:gd name="T3" fmla="*/ 6 h 6"/>
                <a:gd name="T4" fmla="*/ 4 w 64"/>
                <a:gd name="T5" fmla="*/ 6 h 6"/>
                <a:gd name="T6" fmla="*/ 0 w 64"/>
                <a:gd name="T7" fmla="*/ 3 h 6"/>
                <a:gd name="T8" fmla="*/ 4 w 64"/>
                <a:gd name="T9" fmla="*/ 0 h 6"/>
                <a:gd name="T10" fmla="*/ 61 w 64"/>
                <a:gd name="T11" fmla="*/ 0 h 6"/>
                <a:gd name="T12" fmla="*/ 64 w 6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">
                  <a:moveTo>
                    <a:pt x="64" y="3"/>
                  </a:moveTo>
                  <a:cubicBezTo>
                    <a:pt x="64" y="5"/>
                    <a:pt x="63" y="6"/>
                    <a:pt x="61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4" y="1"/>
                    <a:pt x="6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81">
              <a:extLst>
                <a:ext uri="{FF2B5EF4-FFF2-40B4-BE49-F238E27FC236}">
                  <a16:creationId xmlns:a16="http://schemas.microsoft.com/office/drawing/2014/main" id="{05AD84B9-7AA3-44B9-B394-B0D64F4485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516188"/>
              <a:ext cx="390525" cy="23813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82">
              <a:extLst>
                <a:ext uri="{FF2B5EF4-FFF2-40B4-BE49-F238E27FC236}">
                  <a16:creationId xmlns:a16="http://schemas.microsoft.com/office/drawing/2014/main" id="{8CDBE542-6281-41A8-9DEB-B4824C2CC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611438"/>
              <a:ext cx="390525" cy="26988"/>
            </a:xfrm>
            <a:custGeom>
              <a:avLst/>
              <a:gdLst>
                <a:gd name="T0" fmla="*/ 103 w 103"/>
                <a:gd name="T1" fmla="*/ 3 h 7"/>
                <a:gd name="T2" fmla="*/ 100 w 103"/>
                <a:gd name="T3" fmla="*/ 7 h 7"/>
                <a:gd name="T4" fmla="*/ 4 w 103"/>
                <a:gd name="T5" fmla="*/ 7 h 7"/>
                <a:gd name="T6" fmla="*/ 0 w 103"/>
                <a:gd name="T7" fmla="*/ 3 h 7"/>
                <a:gd name="T8" fmla="*/ 4 w 103"/>
                <a:gd name="T9" fmla="*/ 0 h 7"/>
                <a:gd name="T10" fmla="*/ 100 w 103"/>
                <a:gd name="T11" fmla="*/ 0 h 7"/>
                <a:gd name="T12" fmla="*/ 103 w 103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7">
                  <a:moveTo>
                    <a:pt x="103" y="3"/>
                  </a:moveTo>
                  <a:cubicBezTo>
                    <a:pt x="103" y="5"/>
                    <a:pt x="101" y="7"/>
                    <a:pt x="100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2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83">
              <a:extLst>
                <a:ext uri="{FF2B5EF4-FFF2-40B4-BE49-F238E27FC236}">
                  <a16:creationId xmlns:a16="http://schemas.microsoft.com/office/drawing/2014/main" id="{00B99341-F351-46D3-984D-438D2C3901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709863"/>
              <a:ext cx="390525" cy="22225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84">
              <a:extLst>
                <a:ext uri="{FF2B5EF4-FFF2-40B4-BE49-F238E27FC236}">
                  <a16:creationId xmlns:a16="http://schemas.microsoft.com/office/drawing/2014/main" id="{355432A7-AEFA-47F1-B0A0-1345637B0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530225" cy="530225"/>
            </a:xfrm>
            <a:custGeom>
              <a:avLst/>
              <a:gdLst>
                <a:gd name="T0" fmla="*/ 131 w 140"/>
                <a:gd name="T1" fmla="*/ 90 h 140"/>
                <a:gd name="T2" fmla="*/ 51 w 140"/>
                <a:gd name="T3" fmla="*/ 11 h 140"/>
                <a:gd name="T4" fmla="*/ 49 w 140"/>
                <a:gd name="T5" fmla="*/ 9 h 140"/>
                <a:gd name="T6" fmla="*/ 11 w 140"/>
                <a:gd name="T7" fmla="*/ 11 h 140"/>
                <a:gd name="T8" fmla="*/ 11 w 140"/>
                <a:gd name="T9" fmla="*/ 11 h 140"/>
                <a:gd name="T10" fmla="*/ 9 w 140"/>
                <a:gd name="T11" fmla="*/ 49 h 140"/>
                <a:gd name="T12" fmla="*/ 11 w 140"/>
                <a:gd name="T13" fmla="*/ 52 h 140"/>
                <a:gd name="T14" fmla="*/ 90 w 140"/>
                <a:gd name="T15" fmla="*/ 131 h 140"/>
                <a:gd name="T16" fmla="*/ 122 w 140"/>
                <a:gd name="T17" fmla="*/ 140 h 140"/>
                <a:gd name="T18" fmla="*/ 129 w 140"/>
                <a:gd name="T19" fmla="*/ 129 h 140"/>
                <a:gd name="T20" fmla="*/ 140 w 140"/>
                <a:gd name="T21" fmla="*/ 122 h 140"/>
                <a:gd name="T22" fmla="*/ 131 w 140"/>
                <a:gd name="T23" fmla="*/ 9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0" h="140">
                  <a:moveTo>
                    <a:pt x="131" y="90"/>
                  </a:moveTo>
                  <a:cubicBezTo>
                    <a:pt x="51" y="11"/>
                    <a:pt x="51" y="11"/>
                    <a:pt x="51" y="11"/>
                  </a:cubicBezTo>
                  <a:cubicBezTo>
                    <a:pt x="51" y="10"/>
                    <a:pt x="50" y="10"/>
                    <a:pt x="49" y="9"/>
                  </a:cubicBezTo>
                  <a:cubicBezTo>
                    <a:pt x="38" y="0"/>
                    <a:pt x="22" y="0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0" y="22"/>
                    <a:pt x="0" y="38"/>
                    <a:pt x="9" y="49"/>
                  </a:cubicBezTo>
                  <a:cubicBezTo>
                    <a:pt x="9" y="50"/>
                    <a:pt x="10" y="51"/>
                    <a:pt x="11" y="52"/>
                  </a:cubicBezTo>
                  <a:cubicBezTo>
                    <a:pt x="90" y="131"/>
                    <a:pt x="90" y="131"/>
                    <a:pt x="90" y="13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3" y="136"/>
                    <a:pt x="125" y="132"/>
                    <a:pt x="129" y="129"/>
                  </a:cubicBezTo>
                  <a:cubicBezTo>
                    <a:pt x="132" y="126"/>
                    <a:pt x="136" y="123"/>
                    <a:pt x="140" y="122"/>
                  </a:cubicBezTo>
                  <a:lnTo>
                    <a:pt x="131" y="90"/>
                  </a:lnTo>
                  <a:close/>
                </a:path>
              </a:pathLst>
            </a:custGeom>
            <a:solidFill>
              <a:srgbClr val="F4D0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85">
              <a:extLst>
                <a:ext uri="{FF2B5EF4-FFF2-40B4-BE49-F238E27FC236}">
                  <a16:creationId xmlns:a16="http://schemas.microsoft.com/office/drawing/2014/main" id="{54DA4313-77E3-457F-8833-0662FC75B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185738" cy="185738"/>
            </a:xfrm>
            <a:custGeom>
              <a:avLst/>
              <a:gdLst>
                <a:gd name="T0" fmla="*/ 49 w 49"/>
                <a:gd name="T1" fmla="*/ 9 h 49"/>
                <a:gd name="T2" fmla="*/ 9 w 49"/>
                <a:gd name="T3" fmla="*/ 49 h 49"/>
                <a:gd name="T4" fmla="*/ 11 w 49"/>
                <a:gd name="T5" fmla="*/ 11 h 49"/>
                <a:gd name="T6" fmla="*/ 11 w 49"/>
                <a:gd name="T7" fmla="*/ 11 h 49"/>
                <a:gd name="T8" fmla="*/ 49 w 49"/>
                <a:gd name="T9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9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0" y="38"/>
                    <a:pt x="0" y="2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2" y="0"/>
                    <a:pt x="38" y="0"/>
                    <a:pt x="49" y="9"/>
                  </a:cubicBezTo>
                  <a:close/>
                </a:path>
              </a:pathLst>
            </a:custGeom>
            <a:solidFill>
              <a:srgbClr val="F7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86">
              <a:extLst>
                <a:ext uri="{FF2B5EF4-FFF2-40B4-BE49-F238E27FC236}">
                  <a16:creationId xmlns:a16="http://schemas.microsoft.com/office/drawing/2014/main" id="{614328DC-CA57-42F5-BE0C-7B5D3BB29E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075" y="2800351"/>
              <a:ext cx="90488" cy="90488"/>
            </a:xfrm>
            <a:custGeom>
              <a:avLst/>
              <a:gdLst>
                <a:gd name="T0" fmla="*/ 18 w 24"/>
                <a:gd name="T1" fmla="*/ 0 h 24"/>
                <a:gd name="T2" fmla="*/ 24 w 24"/>
                <a:gd name="T3" fmla="*/ 21 h 24"/>
                <a:gd name="T4" fmla="*/ 20 w 24"/>
                <a:gd name="T5" fmla="*/ 24 h 24"/>
                <a:gd name="T6" fmla="*/ 0 w 24"/>
                <a:gd name="T7" fmla="*/ 18 h 24"/>
                <a:gd name="T8" fmla="*/ 7 w 24"/>
                <a:gd name="T9" fmla="*/ 7 h 24"/>
                <a:gd name="T10" fmla="*/ 18 w 24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18" y="0"/>
                  </a:moveTo>
                  <a:cubicBezTo>
                    <a:pt x="24" y="21"/>
                    <a:pt x="24" y="21"/>
                    <a:pt x="24" y="21"/>
                  </a:cubicBezTo>
                  <a:cubicBezTo>
                    <a:pt x="24" y="23"/>
                    <a:pt x="22" y="24"/>
                    <a:pt x="20" y="2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4"/>
                    <a:pt x="3" y="10"/>
                    <a:pt x="7" y="7"/>
                  </a:cubicBezTo>
                  <a:cubicBezTo>
                    <a:pt x="10" y="4"/>
                    <a:pt x="14" y="1"/>
                    <a:pt x="18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87">
              <a:extLst>
                <a:ext uri="{FF2B5EF4-FFF2-40B4-BE49-F238E27FC236}">
                  <a16:creationId xmlns:a16="http://schemas.microsoft.com/office/drawing/2014/main" id="{6EC70ED2-58A2-4F0D-AB74-2621F9D02B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03476"/>
              <a:ext cx="434975" cy="427038"/>
            </a:xfrm>
            <a:custGeom>
              <a:avLst/>
              <a:gdLst>
                <a:gd name="T0" fmla="*/ 114 w 115"/>
                <a:gd name="T1" fmla="*/ 73 h 113"/>
                <a:gd name="T2" fmla="*/ 41 w 115"/>
                <a:gd name="T3" fmla="*/ 0 h 113"/>
                <a:gd name="T4" fmla="*/ 0 w 115"/>
                <a:gd name="T5" fmla="*/ 40 h 113"/>
                <a:gd name="T6" fmla="*/ 0 w 115"/>
                <a:gd name="T7" fmla="*/ 40 h 113"/>
                <a:gd name="T8" fmla="*/ 73 w 115"/>
                <a:gd name="T9" fmla="*/ 113 h 113"/>
                <a:gd name="T10" fmla="*/ 73 w 115"/>
                <a:gd name="T11" fmla="*/ 113 h 113"/>
                <a:gd name="T12" fmla="*/ 76 w 115"/>
                <a:gd name="T13" fmla="*/ 95 h 113"/>
                <a:gd name="T14" fmla="*/ 94 w 115"/>
                <a:gd name="T15" fmla="*/ 94 h 113"/>
                <a:gd name="T16" fmla="*/ 94 w 115"/>
                <a:gd name="T17" fmla="*/ 93 h 113"/>
                <a:gd name="T18" fmla="*/ 94 w 115"/>
                <a:gd name="T19" fmla="*/ 93 h 113"/>
                <a:gd name="T20" fmla="*/ 96 w 115"/>
                <a:gd name="T21" fmla="*/ 74 h 113"/>
                <a:gd name="T22" fmla="*/ 114 w 115"/>
                <a:gd name="T23" fmla="*/ 73 h 113"/>
                <a:gd name="T24" fmla="*/ 114 w 115"/>
                <a:gd name="T25" fmla="*/ 73 h 113"/>
                <a:gd name="T26" fmla="*/ 114 w 115"/>
                <a:gd name="T27" fmla="*/ 7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113">
                  <a:moveTo>
                    <a:pt x="114" y="73"/>
                  </a:moveTo>
                  <a:cubicBezTo>
                    <a:pt x="108" y="67"/>
                    <a:pt x="41" y="0"/>
                    <a:pt x="41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64" y="104"/>
                    <a:pt x="73" y="113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0" y="108"/>
                    <a:pt x="71" y="100"/>
                    <a:pt x="76" y="95"/>
                  </a:cubicBezTo>
                  <a:cubicBezTo>
                    <a:pt x="81" y="90"/>
                    <a:pt x="89" y="90"/>
                    <a:pt x="94" y="94"/>
                  </a:cubicBezTo>
                  <a:cubicBezTo>
                    <a:pt x="94" y="94"/>
                    <a:pt x="94" y="94"/>
                    <a:pt x="94" y="93"/>
                  </a:cubicBezTo>
                  <a:cubicBezTo>
                    <a:pt x="94" y="93"/>
                    <a:pt x="94" y="93"/>
                    <a:pt x="94" y="93"/>
                  </a:cubicBezTo>
                  <a:cubicBezTo>
                    <a:pt x="90" y="88"/>
                    <a:pt x="90" y="80"/>
                    <a:pt x="96" y="74"/>
                  </a:cubicBezTo>
                  <a:cubicBezTo>
                    <a:pt x="101" y="69"/>
                    <a:pt x="109" y="69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5" y="73"/>
                    <a:pt x="115" y="73"/>
                    <a:pt x="114" y="73"/>
                  </a:cubicBez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88">
              <a:extLst>
                <a:ext uri="{FF2B5EF4-FFF2-40B4-BE49-F238E27FC236}">
                  <a16:creationId xmlns:a16="http://schemas.microsoft.com/office/drawing/2014/main" id="{A6DF8AC2-542F-4D2D-8215-43A775290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038" y="2373313"/>
              <a:ext cx="180975" cy="180975"/>
            </a:xfrm>
            <a:custGeom>
              <a:avLst/>
              <a:gdLst>
                <a:gd name="T0" fmla="*/ 17 w 114"/>
                <a:gd name="T1" fmla="*/ 114 h 114"/>
                <a:gd name="T2" fmla="*/ 0 w 114"/>
                <a:gd name="T3" fmla="*/ 98 h 114"/>
                <a:gd name="T4" fmla="*/ 95 w 114"/>
                <a:gd name="T5" fmla="*/ 0 h 114"/>
                <a:gd name="T6" fmla="*/ 114 w 114"/>
                <a:gd name="T7" fmla="*/ 19 h 114"/>
                <a:gd name="T8" fmla="*/ 17 w 114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14">
                  <a:moveTo>
                    <a:pt x="17" y="114"/>
                  </a:moveTo>
                  <a:lnTo>
                    <a:pt x="0" y="98"/>
                  </a:lnTo>
                  <a:lnTo>
                    <a:pt x="95" y="0"/>
                  </a:lnTo>
                  <a:lnTo>
                    <a:pt x="114" y="19"/>
                  </a:lnTo>
                  <a:lnTo>
                    <a:pt x="17" y="114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89">
              <a:extLst>
                <a:ext uri="{FF2B5EF4-FFF2-40B4-BE49-F238E27FC236}">
                  <a16:creationId xmlns:a16="http://schemas.microsoft.com/office/drawing/2014/main" id="{CC3503D2-7FCA-415E-8388-238A74A3A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79676"/>
              <a:ext cx="355600" cy="350838"/>
            </a:xfrm>
            <a:custGeom>
              <a:avLst/>
              <a:gdLst>
                <a:gd name="T0" fmla="*/ 0 w 94"/>
                <a:gd name="T1" fmla="*/ 20 h 93"/>
                <a:gd name="T2" fmla="*/ 73 w 94"/>
                <a:gd name="T3" fmla="*/ 93 h 93"/>
                <a:gd name="T4" fmla="*/ 73 w 94"/>
                <a:gd name="T5" fmla="*/ 93 h 93"/>
                <a:gd name="T6" fmla="*/ 76 w 94"/>
                <a:gd name="T7" fmla="*/ 75 h 93"/>
                <a:gd name="T8" fmla="*/ 94 w 94"/>
                <a:gd name="T9" fmla="*/ 74 h 93"/>
                <a:gd name="T10" fmla="*/ 94 w 94"/>
                <a:gd name="T11" fmla="*/ 73 h 93"/>
                <a:gd name="T12" fmla="*/ 21 w 94"/>
                <a:gd name="T13" fmla="*/ 0 h 93"/>
                <a:gd name="T14" fmla="*/ 0 w 94"/>
                <a:gd name="T15" fmla="*/ 2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93">
                  <a:moveTo>
                    <a:pt x="0" y="20"/>
                  </a:moveTo>
                  <a:cubicBezTo>
                    <a:pt x="0" y="20"/>
                    <a:pt x="64" y="84"/>
                    <a:pt x="73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0" y="88"/>
                    <a:pt x="71" y="80"/>
                    <a:pt x="76" y="75"/>
                  </a:cubicBezTo>
                  <a:cubicBezTo>
                    <a:pt x="81" y="70"/>
                    <a:pt x="89" y="70"/>
                    <a:pt x="94" y="74"/>
                  </a:cubicBezTo>
                  <a:cubicBezTo>
                    <a:pt x="94" y="74"/>
                    <a:pt x="94" y="73"/>
                    <a:pt x="94" y="73"/>
                  </a:cubicBezTo>
                  <a:cubicBezTo>
                    <a:pt x="21" y="0"/>
                    <a:pt x="21" y="0"/>
                    <a:pt x="21" y="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9" name="Title 1">
            <a:extLst>
              <a:ext uri="{FF2B5EF4-FFF2-40B4-BE49-F238E27FC236}">
                <a16:creationId xmlns:a16="http://schemas.microsoft.com/office/drawing/2014/main" id="{01381D6B-0A38-4E06-8506-A342F6A017DB}"/>
              </a:ext>
            </a:extLst>
          </p:cNvPr>
          <p:cNvSpPr txBox="1">
            <a:spLocks/>
          </p:cNvSpPr>
          <p:nvPr/>
        </p:nvSpPr>
        <p:spPr>
          <a:xfrm>
            <a:off x="1104477" y="3400111"/>
            <a:ext cx="4303725" cy="10055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 err="1">
                <a:latin typeface="Segoe UI" panose="020B0502040204020203" pitchFamily="34" charset="0"/>
                <a:cs typeface="Segoe UI" panose="020B0502040204020203" pitchFamily="34" charset="0"/>
              </a:rPr>
              <a:t>IaC</a:t>
            </a:r>
            <a:endParaRPr lang="en-US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 err="1">
                <a:latin typeface="Segoe UI" panose="020B0502040204020203" pitchFamily="34" charset="0"/>
                <a:cs typeface="Segoe UI" panose="020B0502040204020203" pitchFamily="34" charset="0"/>
              </a:rPr>
              <a:t>GitOps</a:t>
            </a:r>
            <a:endParaRPr lang="en-US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Catalog</a:t>
            </a:r>
            <a:endParaRPr lang="en-US" sz="1050" dirty="0"/>
          </a:p>
        </p:txBody>
      </p:sp>
      <p:pic>
        <p:nvPicPr>
          <p:cNvPr id="6" name="Picture 5" descr="A logo with a rocket in the middle&#10;&#10;Description automatically generated">
            <a:extLst>
              <a:ext uri="{FF2B5EF4-FFF2-40B4-BE49-F238E27FC236}">
                <a16:creationId xmlns:a16="http://schemas.microsoft.com/office/drawing/2014/main" id="{9369FFAB-2683-35E8-61F5-DA2E3FC9CF1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8754" y="5712409"/>
            <a:ext cx="2037046" cy="916017"/>
          </a:xfrm>
          <a:prstGeom prst="rect">
            <a:avLst/>
          </a:prstGeom>
        </p:spPr>
      </p:pic>
      <p:pic>
        <p:nvPicPr>
          <p:cNvPr id="4" name="Picture 3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A482FC57-17D3-3A23-46A2-1257FC345C5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1294" y="818117"/>
            <a:ext cx="5221765" cy="522176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203753DF-B9CD-6766-A941-CC078E8576E8}"/>
              </a:ext>
            </a:extLst>
          </p:cNvPr>
          <p:cNvSpPr txBox="1">
            <a:spLocks/>
          </p:cNvSpPr>
          <p:nvPr/>
        </p:nvSpPr>
        <p:spPr>
          <a:xfrm>
            <a:off x="1104477" y="5151913"/>
            <a:ext cx="4303725" cy="41208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Let’s look at the options…</a:t>
            </a:r>
          </a:p>
        </p:txBody>
      </p:sp>
    </p:spTree>
    <p:extLst>
      <p:ext uri="{BB962C8B-B14F-4D97-AF65-F5344CB8AC3E}">
        <p14:creationId xmlns:p14="http://schemas.microsoft.com/office/powerpoint/2010/main" val="19723834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rastructure As Code (</a:t>
            </a:r>
            <a:r>
              <a:rPr lang="en-US" dirty="0" err="1"/>
              <a:t>IaC</a:t>
            </a:r>
            <a:r>
              <a:rPr lang="en-US" dirty="0"/>
              <a:t>) in practi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Takes proven coding practices to continuously deliver infrastructure, and software running on it rapidly and at scale. </a:t>
            </a:r>
            <a:r>
              <a:rPr lang="en-US" sz="2000" b="1" dirty="0"/>
              <a:t>To Whom?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6</a:t>
            </a:fld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1414384" y="2841878"/>
            <a:ext cx="1571305" cy="1560279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7925" y="2526460"/>
            <a:ext cx="1963754" cy="196375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9C09223-D36A-E074-1AA6-0CB54D96C302}"/>
              </a:ext>
            </a:extLst>
          </p:cNvPr>
          <p:cNvSpPr txBox="1"/>
          <p:nvPr/>
        </p:nvSpPr>
        <p:spPr>
          <a:xfrm>
            <a:off x="335944" y="4896951"/>
            <a:ext cx="1344279" cy="369332"/>
          </a:xfrm>
          <a:custGeom>
            <a:avLst/>
            <a:gdLst>
              <a:gd name="connsiteX0" fmla="*/ 0 w 1344279"/>
              <a:gd name="connsiteY0" fmla="*/ 0 h 369332"/>
              <a:gd name="connsiteX1" fmla="*/ 434650 w 1344279"/>
              <a:gd name="connsiteY1" fmla="*/ 0 h 369332"/>
              <a:gd name="connsiteX2" fmla="*/ 842415 w 1344279"/>
              <a:gd name="connsiteY2" fmla="*/ 0 h 369332"/>
              <a:gd name="connsiteX3" fmla="*/ 1344279 w 1344279"/>
              <a:gd name="connsiteY3" fmla="*/ 0 h 369332"/>
              <a:gd name="connsiteX4" fmla="*/ 1344279 w 1344279"/>
              <a:gd name="connsiteY4" fmla="*/ 369332 h 369332"/>
              <a:gd name="connsiteX5" fmla="*/ 923072 w 1344279"/>
              <a:gd name="connsiteY5" fmla="*/ 369332 h 369332"/>
              <a:gd name="connsiteX6" fmla="*/ 448093 w 1344279"/>
              <a:gd name="connsiteY6" fmla="*/ 369332 h 369332"/>
              <a:gd name="connsiteX7" fmla="*/ 0 w 1344279"/>
              <a:gd name="connsiteY7" fmla="*/ 369332 h 369332"/>
              <a:gd name="connsiteX8" fmla="*/ 0 w 1344279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44279" h="369332" extrusionOk="0">
                <a:moveTo>
                  <a:pt x="0" y="0"/>
                </a:moveTo>
                <a:cubicBezTo>
                  <a:pt x="206647" y="-18745"/>
                  <a:pt x="218581" y="34967"/>
                  <a:pt x="434650" y="0"/>
                </a:cubicBezTo>
                <a:cubicBezTo>
                  <a:pt x="650719" y="-34967"/>
                  <a:pt x="724543" y="5447"/>
                  <a:pt x="842415" y="0"/>
                </a:cubicBezTo>
                <a:cubicBezTo>
                  <a:pt x="960287" y="-5447"/>
                  <a:pt x="1213754" y="31132"/>
                  <a:pt x="1344279" y="0"/>
                </a:cubicBezTo>
                <a:cubicBezTo>
                  <a:pt x="1379867" y="113493"/>
                  <a:pt x="1317472" y="197069"/>
                  <a:pt x="1344279" y="369332"/>
                </a:cubicBezTo>
                <a:cubicBezTo>
                  <a:pt x="1218552" y="418443"/>
                  <a:pt x="1032422" y="324452"/>
                  <a:pt x="923072" y="369332"/>
                </a:cubicBezTo>
                <a:cubicBezTo>
                  <a:pt x="813722" y="414212"/>
                  <a:pt x="566016" y="327059"/>
                  <a:pt x="448093" y="369332"/>
                </a:cubicBezTo>
                <a:cubicBezTo>
                  <a:pt x="330170" y="411605"/>
                  <a:pt x="182621" y="319585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Developers?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9CEC175-E2F9-A40F-65CB-92B68AEF21E7}"/>
              </a:ext>
            </a:extLst>
          </p:cNvPr>
          <p:cNvSpPr txBox="1"/>
          <p:nvPr/>
        </p:nvSpPr>
        <p:spPr>
          <a:xfrm>
            <a:off x="878174" y="5380153"/>
            <a:ext cx="1655966" cy="369332"/>
          </a:xfrm>
          <a:custGeom>
            <a:avLst/>
            <a:gdLst>
              <a:gd name="connsiteX0" fmla="*/ 0 w 1655966"/>
              <a:gd name="connsiteY0" fmla="*/ 0 h 369332"/>
              <a:gd name="connsiteX1" fmla="*/ 535429 w 1655966"/>
              <a:gd name="connsiteY1" fmla="*/ 0 h 369332"/>
              <a:gd name="connsiteX2" fmla="*/ 1037739 w 1655966"/>
              <a:gd name="connsiteY2" fmla="*/ 0 h 369332"/>
              <a:gd name="connsiteX3" fmla="*/ 1655966 w 1655966"/>
              <a:gd name="connsiteY3" fmla="*/ 0 h 369332"/>
              <a:gd name="connsiteX4" fmla="*/ 1655966 w 1655966"/>
              <a:gd name="connsiteY4" fmla="*/ 369332 h 369332"/>
              <a:gd name="connsiteX5" fmla="*/ 1137097 w 1655966"/>
              <a:gd name="connsiteY5" fmla="*/ 369332 h 369332"/>
              <a:gd name="connsiteX6" fmla="*/ 551989 w 1655966"/>
              <a:gd name="connsiteY6" fmla="*/ 369332 h 369332"/>
              <a:gd name="connsiteX7" fmla="*/ 0 w 1655966"/>
              <a:gd name="connsiteY7" fmla="*/ 369332 h 369332"/>
              <a:gd name="connsiteX8" fmla="*/ 0 w 1655966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55966" h="369332" extrusionOk="0">
                <a:moveTo>
                  <a:pt x="0" y="0"/>
                </a:moveTo>
                <a:cubicBezTo>
                  <a:pt x="244851" y="-7128"/>
                  <a:pt x="269499" y="51578"/>
                  <a:pt x="535429" y="0"/>
                </a:cubicBezTo>
                <a:cubicBezTo>
                  <a:pt x="801359" y="-51578"/>
                  <a:pt x="909567" y="40960"/>
                  <a:pt x="1037739" y="0"/>
                </a:cubicBezTo>
                <a:cubicBezTo>
                  <a:pt x="1165911" y="-40960"/>
                  <a:pt x="1385770" y="3944"/>
                  <a:pt x="1655966" y="0"/>
                </a:cubicBezTo>
                <a:cubicBezTo>
                  <a:pt x="1691554" y="113493"/>
                  <a:pt x="1629159" y="197069"/>
                  <a:pt x="1655966" y="369332"/>
                </a:cubicBezTo>
                <a:cubicBezTo>
                  <a:pt x="1412740" y="370069"/>
                  <a:pt x="1370932" y="328327"/>
                  <a:pt x="1137097" y="369332"/>
                </a:cubicBezTo>
                <a:cubicBezTo>
                  <a:pt x="903262" y="410337"/>
                  <a:pt x="736034" y="335667"/>
                  <a:pt x="551989" y="369332"/>
                </a:cubicBezTo>
                <a:cubicBezTo>
                  <a:pt x="367944" y="402997"/>
                  <a:pt x="257246" y="336242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Platform Team?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970DDF6-1DAA-110B-AD62-F1DB1D9FB745}"/>
              </a:ext>
            </a:extLst>
          </p:cNvPr>
          <p:cNvSpPr txBox="1"/>
          <p:nvPr/>
        </p:nvSpPr>
        <p:spPr>
          <a:xfrm>
            <a:off x="635322" y="4373044"/>
            <a:ext cx="2529475" cy="369332"/>
          </a:xfrm>
          <a:custGeom>
            <a:avLst/>
            <a:gdLst>
              <a:gd name="connsiteX0" fmla="*/ 0 w 2529475"/>
              <a:gd name="connsiteY0" fmla="*/ 0 h 369332"/>
              <a:gd name="connsiteX1" fmla="*/ 480600 w 2529475"/>
              <a:gd name="connsiteY1" fmla="*/ 0 h 369332"/>
              <a:gd name="connsiteX2" fmla="*/ 910611 w 2529475"/>
              <a:gd name="connsiteY2" fmla="*/ 0 h 369332"/>
              <a:gd name="connsiteX3" fmla="*/ 1467096 w 2529475"/>
              <a:gd name="connsiteY3" fmla="*/ 0 h 369332"/>
              <a:gd name="connsiteX4" fmla="*/ 1947696 w 2529475"/>
              <a:gd name="connsiteY4" fmla="*/ 0 h 369332"/>
              <a:gd name="connsiteX5" fmla="*/ 2529475 w 2529475"/>
              <a:gd name="connsiteY5" fmla="*/ 0 h 369332"/>
              <a:gd name="connsiteX6" fmla="*/ 2529475 w 2529475"/>
              <a:gd name="connsiteY6" fmla="*/ 369332 h 369332"/>
              <a:gd name="connsiteX7" fmla="*/ 2023580 w 2529475"/>
              <a:gd name="connsiteY7" fmla="*/ 369332 h 369332"/>
              <a:gd name="connsiteX8" fmla="*/ 1467096 w 2529475"/>
              <a:gd name="connsiteY8" fmla="*/ 369332 h 369332"/>
              <a:gd name="connsiteX9" fmla="*/ 1037085 w 2529475"/>
              <a:gd name="connsiteY9" fmla="*/ 369332 h 369332"/>
              <a:gd name="connsiteX10" fmla="*/ 531190 w 2529475"/>
              <a:gd name="connsiteY10" fmla="*/ 369332 h 369332"/>
              <a:gd name="connsiteX11" fmla="*/ 0 w 2529475"/>
              <a:gd name="connsiteY11" fmla="*/ 369332 h 369332"/>
              <a:gd name="connsiteX12" fmla="*/ 0 w 2529475"/>
              <a:gd name="connsiteY12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529475" h="369332" extrusionOk="0">
                <a:moveTo>
                  <a:pt x="0" y="0"/>
                </a:moveTo>
                <a:cubicBezTo>
                  <a:pt x="102391" y="-13909"/>
                  <a:pt x="298768" y="4883"/>
                  <a:pt x="480600" y="0"/>
                </a:cubicBezTo>
                <a:cubicBezTo>
                  <a:pt x="662432" y="-4883"/>
                  <a:pt x="704457" y="33511"/>
                  <a:pt x="910611" y="0"/>
                </a:cubicBezTo>
                <a:cubicBezTo>
                  <a:pt x="1116765" y="-33511"/>
                  <a:pt x="1338742" y="23511"/>
                  <a:pt x="1467096" y="0"/>
                </a:cubicBezTo>
                <a:cubicBezTo>
                  <a:pt x="1595451" y="-23511"/>
                  <a:pt x="1780180" y="20493"/>
                  <a:pt x="1947696" y="0"/>
                </a:cubicBezTo>
                <a:cubicBezTo>
                  <a:pt x="2115212" y="-20493"/>
                  <a:pt x="2239041" y="27479"/>
                  <a:pt x="2529475" y="0"/>
                </a:cubicBezTo>
                <a:cubicBezTo>
                  <a:pt x="2565635" y="81226"/>
                  <a:pt x="2507937" y="278722"/>
                  <a:pt x="2529475" y="369332"/>
                </a:cubicBezTo>
                <a:cubicBezTo>
                  <a:pt x="2343626" y="422269"/>
                  <a:pt x="2181824" y="323121"/>
                  <a:pt x="2023580" y="369332"/>
                </a:cubicBezTo>
                <a:cubicBezTo>
                  <a:pt x="1865336" y="415543"/>
                  <a:pt x="1638837" y="308281"/>
                  <a:pt x="1467096" y="369332"/>
                </a:cubicBezTo>
                <a:cubicBezTo>
                  <a:pt x="1295355" y="430383"/>
                  <a:pt x="1218938" y="318738"/>
                  <a:pt x="1037085" y="369332"/>
                </a:cubicBezTo>
                <a:cubicBezTo>
                  <a:pt x="855232" y="419926"/>
                  <a:pt x="768160" y="312292"/>
                  <a:pt x="531190" y="369332"/>
                </a:cubicBezTo>
                <a:cubicBezTo>
                  <a:pt x="294221" y="426372"/>
                  <a:pt x="233887" y="343248"/>
                  <a:pt x="0" y="369332"/>
                </a:cubicBezTo>
                <a:cubicBezTo>
                  <a:pt x="-36656" y="211973"/>
                  <a:pt x="14639" y="175527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Operations/Onboarding?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804B82E-E9C1-DD3E-AEBA-9A64F4356BD5}"/>
              </a:ext>
            </a:extLst>
          </p:cNvPr>
          <p:cNvSpPr/>
          <p:nvPr/>
        </p:nvSpPr>
        <p:spPr>
          <a:xfrm>
            <a:off x="8729254" y="4337825"/>
            <a:ext cx="1270677" cy="386034"/>
          </a:xfrm>
          <a:custGeom>
            <a:avLst/>
            <a:gdLst>
              <a:gd name="connsiteX0" fmla="*/ 0 w 1270677"/>
              <a:gd name="connsiteY0" fmla="*/ 64340 h 386034"/>
              <a:gd name="connsiteX1" fmla="*/ 64340 w 1270677"/>
              <a:gd name="connsiteY1" fmla="*/ 0 h 386034"/>
              <a:gd name="connsiteX2" fmla="*/ 658178 w 1270677"/>
              <a:gd name="connsiteY2" fmla="*/ 0 h 386034"/>
              <a:gd name="connsiteX3" fmla="*/ 1206337 w 1270677"/>
              <a:gd name="connsiteY3" fmla="*/ 0 h 386034"/>
              <a:gd name="connsiteX4" fmla="*/ 1270677 w 1270677"/>
              <a:gd name="connsiteY4" fmla="*/ 64340 h 386034"/>
              <a:gd name="connsiteX5" fmla="*/ 1270677 w 1270677"/>
              <a:gd name="connsiteY5" fmla="*/ 321694 h 386034"/>
              <a:gd name="connsiteX6" fmla="*/ 1206337 w 1270677"/>
              <a:gd name="connsiteY6" fmla="*/ 386034 h 386034"/>
              <a:gd name="connsiteX7" fmla="*/ 635339 w 1270677"/>
              <a:gd name="connsiteY7" fmla="*/ 386034 h 386034"/>
              <a:gd name="connsiteX8" fmla="*/ 64340 w 1270677"/>
              <a:gd name="connsiteY8" fmla="*/ 386034 h 386034"/>
              <a:gd name="connsiteX9" fmla="*/ 0 w 1270677"/>
              <a:gd name="connsiteY9" fmla="*/ 321694 h 386034"/>
              <a:gd name="connsiteX10" fmla="*/ 0 w 1270677"/>
              <a:gd name="connsiteY10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70677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305104" y="-12353"/>
                  <a:pt x="404359" y="-13726"/>
                  <a:pt x="658178" y="0"/>
                </a:cubicBezTo>
                <a:cubicBezTo>
                  <a:pt x="911997" y="13726"/>
                  <a:pt x="1013716" y="-11684"/>
                  <a:pt x="1206337" y="0"/>
                </a:cubicBezTo>
                <a:cubicBezTo>
                  <a:pt x="1234352" y="-4114"/>
                  <a:pt x="1274606" y="30683"/>
                  <a:pt x="1270677" y="64340"/>
                </a:cubicBezTo>
                <a:cubicBezTo>
                  <a:pt x="1276931" y="162416"/>
                  <a:pt x="1279897" y="205598"/>
                  <a:pt x="1270677" y="321694"/>
                </a:cubicBezTo>
                <a:cubicBezTo>
                  <a:pt x="1272476" y="354301"/>
                  <a:pt x="1236545" y="390714"/>
                  <a:pt x="1206337" y="386034"/>
                </a:cubicBezTo>
                <a:cubicBezTo>
                  <a:pt x="1018204" y="391331"/>
                  <a:pt x="872347" y="408582"/>
                  <a:pt x="635339" y="386034"/>
                </a:cubicBezTo>
                <a:cubicBezTo>
                  <a:pt x="398331" y="363486"/>
                  <a:pt x="230275" y="367458"/>
                  <a:pt x="64340" y="386034"/>
                </a:cubicBezTo>
                <a:cubicBezTo>
                  <a:pt x="21150" y="385596"/>
                  <a:pt x="2276" y="350987"/>
                  <a:pt x="0" y="321694"/>
                </a:cubicBezTo>
                <a:cubicBezTo>
                  <a:pt x="3363" y="261429"/>
                  <a:pt x="10077" y="168251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latform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BBAE00B-5B22-3315-FC13-44FF9745CE42}"/>
              </a:ext>
            </a:extLst>
          </p:cNvPr>
          <p:cNvSpPr/>
          <p:nvPr/>
        </p:nvSpPr>
        <p:spPr>
          <a:xfrm>
            <a:off x="8098358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2FC9430-89FA-B6F5-FF73-09BF4CD95552}"/>
              </a:ext>
            </a:extLst>
          </p:cNvPr>
          <p:cNvSpPr txBox="1">
            <a:spLocks/>
          </p:cNvSpPr>
          <p:nvPr/>
        </p:nvSpPr>
        <p:spPr>
          <a:xfrm>
            <a:off x="4398363" y="4349404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Key Principles</a:t>
            </a:r>
          </a:p>
          <a:p>
            <a:pPr>
              <a:buFontTx/>
              <a:buChar char="-"/>
            </a:pPr>
            <a:r>
              <a:rPr lang="en-US" sz="1600" dirty="0"/>
              <a:t>Source Control</a:t>
            </a:r>
          </a:p>
          <a:p>
            <a:pPr>
              <a:buFontTx/>
              <a:buChar char="-"/>
            </a:pPr>
            <a:r>
              <a:rPr lang="en-US" sz="1600" dirty="0"/>
              <a:t>Modularization and versioning</a:t>
            </a:r>
          </a:p>
          <a:p>
            <a:pPr>
              <a:buFontTx/>
              <a:buChar char="-"/>
            </a:pPr>
            <a:r>
              <a:rPr lang="en-US" sz="1600" dirty="0"/>
              <a:t>Idempotency</a:t>
            </a:r>
          </a:p>
          <a:p>
            <a:pPr>
              <a:buFontTx/>
              <a:buChar char="-"/>
            </a:pPr>
            <a:r>
              <a:rPr lang="en-US" sz="1600" dirty="0"/>
              <a:t>Immutability</a:t>
            </a:r>
          </a:p>
          <a:p>
            <a:pPr>
              <a:buFontTx/>
              <a:buChar char="-"/>
            </a:pPr>
            <a:r>
              <a:rPr lang="en-US" sz="1600" dirty="0"/>
              <a:t>CICD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E96F421-5C8F-D7AC-CB8E-03B2D301D14F}"/>
              </a:ext>
            </a:extLst>
          </p:cNvPr>
          <p:cNvSpPr/>
          <p:nvPr/>
        </p:nvSpPr>
        <p:spPr>
          <a:xfrm>
            <a:off x="8952275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D0C9F23-91D5-336C-C039-30C996918F95}"/>
              </a:ext>
            </a:extLst>
          </p:cNvPr>
          <p:cNvSpPr/>
          <p:nvPr/>
        </p:nvSpPr>
        <p:spPr>
          <a:xfrm>
            <a:off x="9806192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FFC8AE4-5582-19C0-DED3-63D8270B8571}"/>
              </a:ext>
            </a:extLst>
          </p:cNvPr>
          <p:cNvGrpSpPr/>
          <p:nvPr/>
        </p:nvGrpSpPr>
        <p:grpSpPr>
          <a:xfrm>
            <a:off x="5075020" y="2636981"/>
            <a:ext cx="1491970" cy="1694291"/>
            <a:chOff x="3591201" y="2800773"/>
            <a:chExt cx="887513" cy="946980"/>
          </a:xfrm>
        </p:grpSpPr>
        <p:pic>
          <p:nvPicPr>
            <p:cNvPr id="30" name="Picture 2">
              <a:extLst>
                <a:ext uri="{FF2B5EF4-FFF2-40B4-BE49-F238E27FC236}">
                  <a16:creationId xmlns:a16="http://schemas.microsoft.com/office/drawing/2014/main" id="{804CD20B-D34E-E250-FE43-7F9A9816001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5289" y="280077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2">
              <a:extLst>
                <a:ext uri="{FF2B5EF4-FFF2-40B4-BE49-F238E27FC236}">
                  <a16:creationId xmlns:a16="http://schemas.microsoft.com/office/drawing/2014/main" id="{589B69B8-B088-4632-7BDA-773B26D65C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2438" y="2864688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0" name="Picture 2">
              <a:extLst>
                <a:ext uri="{FF2B5EF4-FFF2-40B4-BE49-F238E27FC236}">
                  <a16:creationId xmlns:a16="http://schemas.microsoft.com/office/drawing/2014/main" id="{5E82655F-7EC7-C105-EAA2-389E5E131E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1201" y="292860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24EF291-C501-D101-0029-071EE9043CF4}"/>
              </a:ext>
            </a:extLst>
          </p:cNvPr>
          <p:cNvSpPr/>
          <p:nvPr/>
        </p:nvSpPr>
        <p:spPr>
          <a:xfrm>
            <a:off x="4187983" y="2655113"/>
            <a:ext cx="3083058" cy="3540825"/>
          </a:xfrm>
          <a:custGeom>
            <a:avLst/>
            <a:gdLst>
              <a:gd name="connsiteX0" fmla="*/ 0 w 3083058"/>
              <a:gd name="connsiteY0" fmla="*/ 513853 h 3540825"/>
              <a:gd name="connsiteX1" fmla="*/ 513853 w 3083058"/>
              <a:gd name="connsiteY1" fmla="*/ 0 h 3540825"/>
              <a:gd name="connsiteX2" fmla="*/ 1068798 w 3083058"/>
              <a:gd name="connsiteY2" fmla="*/ 0 h 3540825"/>
              <a:gd name="connsiteX3" fmla="*/ 1562083 w 3083058"/>
              <a:gd name="connsiteY3" fmla="*/ 0 h 3540825"/>
              <a:gd name="connsiteX4" fmla="*/ 2034813 w 3083058"/>
              <a:gd name="connsiteY4" fmla="*/ 0 h 3540825"/>
              <a:gd name="connsiteX5" fmla="*/ 2569205 w 3083058"/>
              <a:gd name="connsiteY5" fmla="*/ 0 h 3540825"/>
              <a:gd name="connsiteX6" fmla="*/ 3083058 w 3083058"/>
              <a:gd name="connsiteY6" fmla="*/ 513853 h 3540825"/>
              <a:gd name="connsiteX7" fmla="*/ 3083058 w 3083058"/>
              <a:gd name="connsiteY7" fmla="*/ 1016477 h 3540825"/>
              <a:gd name="connsiteX8" fmla="*/ 3083058 w 3083058"/>
              <a:gd name="connsiteY8" fmla="*/ 1569363 h 3540825"/>
              <a:gd name="connsiteX9" fmla="*/ 3083058 w 3083058"/>
              <a:gd name="connsiteY9" fmla="*/ 1996593 h 3540825"/>
              <a:gd name="connsiteX10" fmla="*/ 3083058 w 3083058"/>
              <a:gd name="connsiteY10" fmla="*/ 2499217 h 3540825"/>
              <a:gd name="connsiteX11" fmla="*/ 3083058 w 3083058"/>
              <a:gd name="connsiteY11" fmla="*/ 3026972 h 3540825"/>
              <a:gd name="connsiteX12" fmla="*/ 2569205 w 3083058"/>
              <a:gd name="connsiteY12" fmla="*/ 3540825 h 3540825"/>
              <a:gd name="connsiteX13" fmla="*/ 2055367 w 3083058"/>
              <a:gd name="connsiteY13" fmla="*/ 3540825 h 3540825"/>
              <a:gd name="connsiteX14" fmla="*/ 1582636 w 3083058"/>
              <a:gd name="connsiteY14" fmla="*/ 3540825 h 3540825"/>
              <a:gd name="connsiteX15" fmla="*/ 1068798 w 3083058"/>
              <a:gd name="connsiteY15" fmla="*/ 3540825 h 3540825"/>
              <a:gd name="connsiteX16" fmla="*/ 513853 w 3083058"/>
              <a:gd name="connsiteY16" fmla="*/ 3540825 h 3540825"/>
              <a:gd name="connsiteX17" fmla="*/ 0 w 3083058"/>
              <a:gd name="connsiteY17" fmla="*/ 3026972 h 3540825"/>
              <a:gd name="connsiteX18" fmla="*/ 0 w 3083058"/>
              <a:gd name="connsiteY18" fmla="*/ 2599742 h 3540825"/>
              <a:gd name="connsiteX19" fmla="*/ 0 w 3083058"/>
              <a:gd name="connsiteY19" fmla="*/ 2046856 h 3540825"/>
              <a:gd name="connsiteX20" fmla="*/ 0 w 3083058"/>
              <a:gd name="connsiteY20" fmla="*/ 1544232 h 3540825"/>
              <a:gd name="connsiteX21" fmla="*/ 0 w 3083058"/>
              <a:gd name="connsiteY21" fmla="*/ 1091870 h 3540825"/>
              <a:gd name="connsiteX22" fmla="*/ 0 w 3083058"/>
              <a:gd name="connsiteY22" fmla="*/ 513853 h 3540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083058" h="3540825" extrusionOk="0">
                <a:moveTo>
                  <a:pt x="0" y="513853"/>
                </a:moveTo>
                <a:cubicBezTo>
                  <a:pt x="-63821" y="190694"/>
                  <a:pt x="187314" y="16043"/>
                  <a:pt x="513853" y="0"/>
                </a:cubicBezTo>
                <a:cubicBezTo>
                  <a:pt x="713129" y="-14821"/>
                  <a:pt x="869427" y="28123"/>
                  <a:pt x="1068798" y="0"/>
                </a:cubicBezTo>
                <a:cubicBezTo>
                  <a:pt x="1268169" y="-28123"/>
                  <a:pt x="1317565" y="57900"/>
                  <a:pt x="1562083" y="0"/>
                </a:cubicBezTo>
                <a:cubicBezTo>
                  <a:pt x="1806601" y="-57900"/>
                  <a:pt x="1851761" y="11437"/>
                  <a:pt x="2034813" y="0"/>
                </a:cubicBezTo>
                <a:cubicBezTo>
                  <a:pt x="2217865" y="-11437"/>
                  <a:pt x="2452544" y="48083"/>
                  <a:pt x="2569205" y="0"/>
                </a:cubicBezTo>
                <a:cubicBezTo>
                  <a:pt x="2873950" y="-43120"/>
                  <a:pt x="3066959" y="227595"/>
                  <a:pt x="3083058" y="513853"/>
                </a:cubicBezTo>
                <a:cubicBezTo>
                  <a:pt x="3084645" y="647007"/>
                  <a:pt x="3071786" y="798711"/>
                  <a:pt x="3083058" y="1016477"/>
                </a:cubicBezTo>
                <a:cubicBezTo>
                  <a:pt x="3094330" y="1234243"/>
                  <a:pt x="3034871" y="1414205"/>
                  <a:pt x="3083058" y="1569363"/>
                </a:cubicBezTo>
                <a:cubicBezTo>
                  <a:pt x="3131245" y="1724521"/>
                  <a:pt x="3040623" y="1860339"/>
                  <a:pt x="3083058" y="1996593"/>
                </a:cubicBezTo>
                <a:cubicBezTo>
                  <a:pt x="3125493" y="2132847"/>
                  <a:pt x="3073548" y="2354671"/>
                  <a:pt x="3083058" y="2499217"/>
                </a:cubicBezTo>
                <a:cubicBezTo>
                  <a:pt x="3092568" y="2643763"/>
                  <a:pt x="3046948" y="2798149"/>
                  <a:pt x="3083058" y="3026972"/>
                </a:cubicBezTo>
                <a:cubicBezTo>
                  <a:pt x="3128088" y="3266268"/>
                  <a:pt x="2908958" y="3504742"/>
                  <a:pt x="2569205" y="3540825"/>
                </a:cubicBezTo>
                <a:cubicBezTo>
                  <a:pt x="2439243" y="3581174"/>
                  <a:pt x="2174681" y="3489289"/>
                  <a:pt x="2055367" y="3540825"/>
                </a:cubicBezTo>
                <a:cubicBezTo>
                  <a:pt x="1936053" y="3592361"/>
                  <a:pt x="1730368" y="3534225"/>
                  <a:pt x="1582636" y="3540825"/>
                </a:cubicBezTo>
                <a:cubicBezTo>
                  <a:pt x="1434904" y="3547425"/>
                  <a:pt x="1224339" y="3521937"/>
                  <a:pt x="1068798" y="3540825"/>
                </a:cubicBezTo>
                <a:cubicBezTo>
                  <a:pt x="913257" y="3559713"/>
                  <a:pt x="735699" y="3485737"/>
                  <a:pt x="513853" y="3540825"/>
                </a:cubicBezTo>
                <a:cubicBezTo>
                  <a:pt x="219566" y="3509258"/>
                  <a:pt x="76651" y="3295193"/>
                  <a:pt x="0" y="3026972"/>
                </a:cubicBezTo>
                <a:cubicBezTo>
                  <a:pt x="-33977" y="2891023"/>
                  <a:pt x="13887" y="2801848"/>
                  <a:pt x="0" y="2599742"/>
                </a:cubicBezTo>
                <a:cubicBezTo>
                  <a:pt x="-13887" y="2397636"/>
                  <a:pt x="41711" y="2235790"/>
                  <a:pt x="0" y="2046856"/>
                </a:cubicBezTo>
                <a:cubicBezTo>
                  <a:pt x="-41711" y="1857922"/>
                  <a:pt x="34097" y="1747840"/>
                  <a:pt x="0" y="1544232"/>
                </a:cubicBezTo>
                <a:cubicBezTo>
                  <a:pt x="-34097" y="1340624"/>
                  <a:pt x="25886" y="1240929"/>
                  <a:pt x="0" y="1091870"/>
                </a:cubicBezTo>
                <a:cubicBezTo>
                  <a:pt x="-25886" y="942811"/>
                  <a:pt x="64959" y="742895"/>
                  <a:pt x="0" y="513853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A294AB6-8F34-F02C-5DB8-58169D8BB0FB}"/>
              </a:ext>
            </a:extLst>
          </p:cNvPr>
          <p:cNvSpPr txBox="1"/>
          <p:nvPr/>
        </p:nvSpPr>
        <p:spPr>
          <a:xfrm>
            <a:off x="2052064" y="5868196"/>
            <a:ext cx="1410194" cy="369332"/>
          </a:xfrm>
          <a:custGeom>
            <a:avLst/>
            <a:gdLst>
              <a:gd name="connsiteX0" fmla="*/ 0 w 1410194"/>
              <a:gd name="connsiteY0" fmla="*/ 0 h 369332"/>
              <a:gd name="connsiteX1" fmla="*/ 455963 w 1410194"/>
              <a:gd name="connsiteY1" fmla="*/ 0 h 369332"/>
              <a:gd name="connsiteX2" fmla="*/ 883722 w 1410194"/>
              <a:gd name="connsiteY2" fmla="*/ 0 h 369332"/>
              <a:gd name="connsiteX3" fmla="*/ 1410194 w 1410194"/>
              <a:gd name="connsiteY3" fmla="*/ 0 h 369332"/>
              <a:gd name="connsiteX4" fmla="*/ 1410194 w 1410194"/>
              <a:gd name="connsiteY4" fmla="*/ 369332 h 369332"/>
              <a:gd name="connsiteX5" fmla="*/ 968333 w 1410194"/>
              <a:gd name="connsiteY5" fmla="*/ 369332 h 369332"/>
              <a:gd name="connsiteX6" fmla="*/ 470065 w 1410194"/>
              <a:gd name="connsiteY6" fmla="*/ 369332 h 369332"/>
              <a:gd name="connsiteX7" fmla="*/ 0 w 1410194"/>
              <a:gd name="connsiteY7" fmla="*/ 369332 h 369332"/>
              <a:gd name="connsiteX8" fmla="*/ 0 w 1410194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10194" h="369332" extrusionOk="0">
                <a:moveTo>
                  <a:pt x="0" y="0"/>
                </a:moveTo>
                <a:cubicBezTo>
                  <a:pt x="179160" y="-37684"/>
                  <a:pt x="349477" y="37113"/>
                  <a:pt x="455963" y="0"/>
                </a:cubicBezTo>
                <a:cubicBezTo>
                  <a:pt x="562449" y="-37113"/>
                  <a:pt x="758950" y="7286"/>
                  <a:pt x="883722" y="0"/>
                </a:cubicBezTo>
                <a:cubicBezTo>
                  <a:pt x="1008494" y="-7286"/>
                  <a:pt x="1240621" y="37317"/>
                  <a:pt x="1410194" y="0"/>
                </a:cubicBezTo>
                <a:cubicBezTo>
                  <a:pt x="1445782" y="113493"/>
                  <a:pt x="1383387" y="197069"/>
                  <a:pt x="1410194" y="369332"/>
                </a:cubicBezTo>
                <a:cubicBezTo>
                  <a:pt x="1231884" y="411391"/>
                  <a:pt x="1073654" y="324537"/>
                  <a:pt x="968333" y="369332"/>
                </a:cubicBezTo>
                <a:cubicBezTo>
                  <a:pt x="863012" y="414127"/>
                  <a:pt x="619872" y="339149"/>
                  <a:pt x="470065" y="369332"/>
                </a:cubicBezTo>
                <a:cubicBezTo>
                  <a:pt x="320258" y="399515"/>
                  <a:pt x="186214" y="329691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Other Users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A22097B-7238-5BA4-C778-B62763BCF49A}"/>
              </a:ext>
            </a:extLst>
          </p:cNvPr>
          <p:cNvSpPr txBox="1"/>
          <p:nvPr/>
        </p:nvSpPr>
        <p:spPr>
          <a:xfrm>
            <a:off x="1900059" y="4895973"/>
            <a:ext cx="1553630" cy="369332"/>
          </a:xfrm>
          <a:custGeom>
            <a:avLst/>
            <a:gdLst>
              <a:gd name="connsiteX0" fmla="*/ 0 w 1553630"/>
              <a:gd name="connsiteY0" fmla="*/ 0 h 369332"/>
              <a:gd name="connsiteX1" fmla="*/ 502340 w 1553630"/>
              <a:gd name="connsiteY1" fmla="*/ 0 h 369332"/>
              <a:gd name="connsiteX2" fmla="*/ 973608 w 1553630"/>
              <a:gd name="connsiteY2" fmla="*/ 0 h 369332"/>
              <a:gd name="connsiteX3" fmla="*/ 1553630 w 1553630"/>
              <a:gd name="connsiteY3" fmla="*/ 0 h 369332"/>
              <a:gd name="connsiteX4" fmla="*/ 1553630 w 1553630"/>
              <a:gd name="connsiteY4" fmla="*/ 369332 h 369332"/>
              <a:gd name="connsiteX5" fmla="*/ 1066826 w 1553630"/>
              <a:gd name="connsiteY5" fmla="*/ 369332 h 369332"/>
              <a:gd name="connsiteX6" fmla="*/ 517877 w 1553630"/>
              <a:gd name="connsiteY6" fmla="*/ 369332 h 369332"/>
              <a:gd name="connsiteX7" fmla="*/ 0 w 1553630"/>
              <a:gd name="connsiteY7" fmla="*/ 369332 h 369332"/>
              <a:gd name="connsiteX8" fmla="*/ 0 w 1553630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53630" h="369332" extrusionOk="0">
                <a:moveTo>
                  <a:pt x="0" y="0"/>
                </a:moveTo>
                <a:cubicBezTo>
                  <a:pt x="178976" y="-59960"/>
                  <a:pt x="348368" y="50915"/>
                  <a:pt x="502340" y="0"/>
                </a:cubicBezTo>
                <a:cubicBezTo>
                  <a:pt x="656312" y="-50915"/>
                  <a:pt x="868002" y="19203"/>
                  <a:pt x="973608" y="0"/>
                </a:cubicBezTo>
                <a:cubicBezTo>
                  <a:pt x="1079214" y="-19203"/>
                  <a:pt x="1408169" y="22052"/>
                  <a:pt x="1553630" y="0"/>
                </a:cubicBezTo>
                <a:cubicBezTo>
                  <a:pt x="1589218" y="113493"/>
                  <a:pt x="1526823" y="197069"/>
                  <a:pt x="1553630" y="369332"/>
                </a:cubicBezTo>
                <a:cubicBezTo>
                  <a:pt x="1320640" y="400081"/>
                  <a:pt x="1170936" y="312256"/>
                  <a:pt x="1066826" y="369332"/>
                </a:cubicBezTo>
                <a:cubicBezTo>
                  <a:pt x="962716" y="426408"/>
                  <a:pt x="629650" y="331432"/>
                  <a:pt x="517877" y="369332"/>
                </a:cubicBezTo>
                <a:cubicBezTo>
                  <a:pt x="406104" y="407232"/>
                  <a:pt x="112727" y="351618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DevOps team?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8458ABD-EA80-B5D8-1ED4-7F96516E83B8}"/>
              </a:ext>
            </a:extLst>
          </p:cNvPr>
          <p:cNvSpPr txBox="1"/>
          <p:nvPr/>
        </p:nvSpPr>
        <p:spPr>
          <a:xfrm>
            <a:off x="350181" y="5865311"/>
            <a:ext cx="1647823" cy="369332"/>
          </a:xfrm>
          <a:custGeom>
            <a:avLst/>
            <a:gdLst>
              <a:gd name="connsiteX0" fmla="*/ 0 w 1647823"/>
              <a:gd name="connsiteY0" fmla="*/ 0 h 369332"/>
              <a:gd name="connsiteX1" fmla="*/ 532796 w 1647823"/>
              <a:gd name="connsiteY1" fmla="*/ 0 h 369332"/>
              <a:gd name="connsiteX2" fmla="*/ 1032636 w 1647823"/>
              <a:gd name="connsiteY2" fmla="*/ 0 h 369332"/>
              <a:gd name="connsiteX3" fmla="*/ 1647823 w 1647823"/>
              <a:gd name="connsiteY3" fmla="*/ 0 h 369332"/>
              <a:gd name="connsiteX4" fmla="*/ 1647823 w 1647823"/>
              <a:gd name="connsiteY4" fmla="*/ 369332 h 369332"/>
              <a:gd name="connsiteX5" fmla="*/ 1131505 w 1647823"/>
              <a:gd name="connsiteY5" fmla="*/ 369332 h 369332"/>
              <a:gd name="connsiteX6" fmla="*/ 549274 w 1647823"/>
              <a:gd name="connsiteY6" fmla="*/ 369332 h 369332"/>
              <a:gd name="connsiteX7" fmla="*/ 0 w 1647823"/>
              <a:gd name="connsiteY7" fmla="*/ 369332 h 369332"/>
              <a:gd name="connsiteX8" fmla="*/ 0 w 1647823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47823" h="369332" extrusionOk="0">
                <a:moveTo>
                  <a:pt x="0" y="0"/>
                </a:moveTo>
                <a:cubicBezTo>
                  <a:pt x="145725" y="-23326"/>
                  <a:pt x="394275" y="59032"/>
                  <a:pt x="532796" y="0"/>
                </a:cubicBezTo>
                <a:cubicBezTo>
                  <a:pt x="671317" y="-59032"/>
                  <a:pt x="899474" y="55270"/>
                  <a:pt x="1032636" y="0"/>
                </a:cubicBezTo>
                <a:cubicBezTo>
                  <a:pt x="1165798" y="-55270"/>
                  <a:pt x="1523599" y="14050"/>
                  <a:pt x="1647823" y="0"/>
                </a:cubicBezTo>
                <a:cubicBezTo>
                  <a:pt x="1683411" y="113493"/>
                  <a:pt x="1621016" y="197069"/>
                  <a:pt x="1647823" y="369332"/>
                </a:cubicBezTo>
                <a:cubicBezTo>
                  <a:pt x="1435708" y="387440"/>
                  <a:pt x="1376433" y="337830"/>
                  <a:pt x="1131505" y="369332"/>
                </a:cubicBezTo>
                <a:cubicBezTo>
                  <a:pt x="886577" y="400834"/>
                  <a:pt x="822305" y="344251"/>
                  <a:pt x="549274" y="369332"/>
                </a:cubicBezTo>
                <a:cubicBezTo>
                  <a:pt x="276243" y="394413"/>
                  <a:pt x="237409" y="305068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Other Systems?</a:t>
            </a:r>
          </a:p>
        </p:txBody>
      </p:sp>
    </p:spTree>
    <p:extLst>
      <p:ext uri="{BB962C8B-B14F-4D97-AF65-F5344CB8AC3E}">
        <p14:creationId xmlns:p14="http://schemas.microsoft.com/office/powerpoint/2010/main" val="26814707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2404ABF-311B-4C82-86A1-8C2F926F51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2404ABF-311B-4C82-86A1-8C2F926F51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CBC95CE5-6B46-4749-8037-32F37DFED6D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4" name="Freeform 46">
            <a:extLst>
              <a:ext uri="{FF2B5EF4-FFF2-40B4-BE49-F238E27FC236}">
                <a16:creationId xmlns:a16="http://schemas.microsoft.com/office/drawing/2014/main" id="{B47F8AEC-0526-4A86-A53A-BDDC597416CE}"/>
              </a:ext>
            </a:extLst>
          </p:cNvPr>
          <p:cNvSpPr/>
          <p:nvPr/>
        </p:nvSpPr>
        <p:spPr>
          <a:xfrm>
            <a:off x="7225681" y="1104290"/>
            <a:ext cx="1989601" cy="73247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5" name="Freeform 46">
            <a:extLst>
              <a:ext uri="{FF2B5EF4-FFF2-40B4-BE49-F238E27FC236}">
                <a16:creationId xmlns:a16="http://schemas.microsoft.com/office/drawing/2014/main" id="{D0E50AF2-0884-4E4A-B3F8-055FAD6842F5}"/>
              </a:ext>
            </a:extLst>
          </p:cNvPr>
          <p:cNvSpPr/>
          <p:nvPr/>
        </p:nvSpPr>
        <p:spPr>
          <a:xfrm>
            <a:off x="8147701" y="3055010"/>
            <a:ext cx="1989601" cy="73247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6" name="Freeform 46">
            <a:extLst>
              <a:ext uri="{FF2B5EF4-FFF2-40B4-BE49-F238E27FC236}">
                <a16:creationId xmlns:a16="http://schemas.microsoft.com/office/drawing/2014/main" id="{DC3678E8-E328-4F87-817A-3696F6E2EB7A}"/>
              </a:ext>
            </a:extLst>
          </p:cNvPr>
          <p:cNvSpPr/>
          <p:nvPr/>
        </p:nvSpPr>
        <p:spPr>
          <a:xfrm>
            <a:off x="7225681" y="4961915"/>
            <a:ext cx="1989601" cy="73247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任意多边形: 形状 16">
            <a:extLst>
              <a:ext uri="{FF2B5EF4-FFF2-40B4-BE49-F238E27FC236}">
                <a16:creationId xmlns:a16="http://schemas.microsoft.com/office/drawing/2014/main" id="{D794E18D-9977-46BD-8B0A-01B80EF9FD2A}"/>
              </a:ext>
            </a:extLst>
          </p:cNvPr>
          <p:cNvSpPr/>
          <p:nvPr/>
        </p:nvSpPr>
        <p:spPr>
          <a:xfrm rot="5400000" flipH="1">
            <a:off x="4593292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任意多边形: 形状 16">
            <a:extLst>
              <a:ext uri="{FF2B5EF4-FFF2-40B4-BE49-F238E27FC236}">
                <a16:creationId xmlns:a16="http://schemas.microsoft.com/office/drawing/2014/main" id="{4B120BF0-97E1-4511-B539-159342009EB6}"/>
              </a:ext>
            </a:extLst>
          </p:cNvPr>
          <p:cNvSpPr/>
          <p:nvPr/>
        </p:nvSpPr>
        <p:spPr>
          <a:xfrm rot="5400000" flipH="1">
            <a:off x="4593292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Rectángulo 6175">
            <a:extLst>
              <a:ext uri="{FF2B5EF4-FFF2-40B4-BE49-F238E27FC236}">
                <a16:creationId xmlns:a16="http://schemas.microsoft.com/office/drawing/2014/main" id="{084BFAB7-1E03-4EB2-8CCE-0C5CACEA3CC1}"/>
              </a:ext>
            </a:extLst>
          </p:cNvPr>
          <p:cNvSpPr/>
          <p:nvPr/>
        </p:nvSpPr>
        <p:spPr>
          <a:xfrm>
            <a:off x="1" y="0"/>
            <a:ext cx="5545550" cy="68580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任意多边形: 形状 16">
            <a:extLst>
              <a:ext uri="{FF2B5EF4-FFF2-40B4-BE49-F238E27FC236}">
                <a16:creationId xmlns:a16="http://schemas.microsoft.com/office/drawing/2014/main" id="{E4B93134-654E-4019-A634-7D3215DB38CD}"/>
              </a:ext>
            </a:extLst>
          </p:cNvPr>
          <p:cNvSpPr/>
          <p:nvPr/>
        </p:nvSpPr>
        <p:spPr>
          <a:xfrm rot="5400000" flipH="1">
            <a:off x="4255769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任意多边形: 形状 16">
            <a:extLst>
              <a:ext uri="{FF2B5EF4-FFF2-40B4-BE49-F238E27FC236}">
                <a16:creationId xmlns:a16="http://schemas.microsoft.com/office/drawing/2014/main" id="{5554B1C5-6BA6-45C1-B78B-5EFC720BF1CD}"/>
              </a:ext>
            </a:extLst>
          </p:cNvPr>
          <p:cNvSpPr/>
          <p:nvPr/>
        </p:nvSpPr>
        <p:spPr>
          <a:xfrm rot="5400000" flipH="1">
            <a:off x="4255769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3FDC3C6D-99CD-4029-A4B2-66084947B1BB}"/>
              </a:ext>
            </a:extLst>
          </p:cNvPr>
          <p:cNvSpPr/>
          <p:nvPr/>
        </p:nvSpPr>
        <p:spPr>
          <a:xfrm>
            <a:off x="3650343" y="983343"/>
            <a:ext cx="4891314" cy="4891314"/>
          </a:xfrm>
          <a:prstGeom prst="ellipse">
            <a:avLst/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1CC1986-C0F2-4C1B-8575-225EEE4D56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078" y="2263628"/>
            <a:ext cx="3313587" cy="2285154"/>
          </a:xfrm>
        </p:spPr>
        <p:txBody>
          <a:bodyPr lIns="0" rIns="0">
            <a:noAutofit/>
          </a:bodyPr>
          <a:lstStyle/>
          <a:p>
            <a:r>
              <a:rPr lang="en-US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ut there are multiple </a:t>
            </a:r>
            <a:r>
              <a:rPr lang="en-US" sz="36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aC</a:t>
            </a:r>
            <a:r>
              <a:rPr lang="en-US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applications</a:t>
            </a:r>
            <a:endParaRPr lang="en-US" sz="36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Arc 26">
            <a:extLst>
              <a:ext uri="{FF2B5EF4-FFF2-40B4-BE49-F238E27FC236}">
                <a16:creationId xmlns:a16="http://schemas.microsoft.com/office/drawing/2014/main" id="{293895EF-F846-482A-9164-DAB9FF74888E}"/>
              </a:ext>
            </a:extLst>
          </p:cNvPr>
          <p:cNvSpPr/>
          <p:nvPr/>
        </p:nvSpPr>
        <p:spPr>
          <a:xfrm>
            <a:off x="3862388" y="1195388"/>
            <a:ext cx="4467224" cy="4467224"/>
          </a:xfrm>
          <a:prstGeom prst="arc">
            <a:avLst>
              <a:gd name="adj1" fmla="val 14589245"/>
              <a:gd name="adj2" fmla="val 11716576"/>
            </a:avLst>
          </a:prstGeom>
          <a:ln>
            <a:solidFill>
              <a:schemeClr val="bg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FBDDD12-3C77-42DB-8FC3-015BD08CFBC9}"/>
              </a:ext>
            </a:extLst>
          </p:cNvPr>
          <p:cNvGrpSpPr/>
          <p:nvPr/>
        </p:nvGrpSpPr>
        <p:grpSpPr>
          <a:xfrm>
            <a:off x="7074409" y="984769"/>
            <a:ext cx="971518" cy="971518"/>
            <a:chOff x="7187500" y="839949"/>
            <a:chExt cx="1422400" cy="1422400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17557160-3B88-4BD6-9B6B-2EB953316367}"/>
                </a:ext>
              </a:extLst>
            </p:cNvPr>
            <p:cNvSpPr/>
            <p:nvPr/>
          </p:nvSpPr>
          <p:spPr>
            <a:xfrm>
              <a:off x="7187500" y="839949"/>
              <a:ext cx="1422400" cy="1422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6965462A-E6F0-45F8-B9C4-B22E3BB15E7A}"/>
                </a:ext>
              </a:extLst>
            </p:cNvPr>
            <p:cNvSpPr/>
            <p:nvPr/>
          </p:nvSpPr>
          <p:spPr>
            <a:xfrm>
              <a:off x="7412941" y="1065390"/>
              <a:ext cx="971519" cy="971519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EE1CABC-4ED7-444D-AE75-BCE325B91580}"/>
              </a:ext>
            </a:extLst>
          </p:cNvPr>
          <p:cNvGrpSpPr/>
          <p:nvPr/>
        </p:nvGrpSpPr>
        <p:grpSpPr>
          <a:xfrm>
            <a:off x="7074409" y="4856124"/>
            <a:ext cx="971518" cy="971518"/>
            <a:chOff x="7187500" y="839949"/>
            <a:chExt cx="1422400" cy="1422400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4B5B7F71-CE1F-41E1-9696-A6D450502C82}"/>
                </a:ext>
              </a:extLst>
            </p:cNvPr>
            <p:cNvSpPr/>
            <p:nvPr/>
          </p:nvSpPr>
          <p:spPr>
            <a:xfrm>
              <a:off x="7187500" y="839949"/>
              <a:ext cx="1422400" cy="1422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547A7379-3B63-47B1-A78C-F06AD7855627}"/>
                </a:ext>
              </a:extLst>
            </p:cNvPr>
            <p:cNvSpPr/>
            <p:nvPr/>
          </p:nvSpPr>
          <p:spPr>
            <a:xfrm>
              <a:off x="7412941" y="1065390"/>
              <a:ext cx="971519" cy="971519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99B3873-668D-43B5-9506-34B08AD24C4A}"/>
              </a:ext>
            </a:extLst>
          </p:cNvPr>
          <p:cNvGrpSpPr/>
          <p:nvPr/>
        </p:nvGrpSpPr>
        <p:grpSpPr>
          <a:xfrm>
            <a:off x="8024435" y="2920446"/>
            <a:ext cx="971518" cy="971518"/>
            <a:chOff x="7187500" y="839949"/>
            <a:chExt cx="1422400" cy="1422400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FC6A1AEC-37B7-4291-B20C-58B8E0F6586B}"/>
                </a:ext>
              </a:extLst>
            </p:cNvPr>
            <p:cNvSpPr/>
            <p:nvPr/>
          </p:nvSpPr>
          <p:spPr>
            <a:xfrm>
              <a:off x="7187500" y="839949"/>
              <a:ext cx="1422400" cy="1422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12DEC58-618B-45F5-9FE7-3128DCC314BD}"/>
                </a:ext>
              </a:extLst>
            </p:cNvPr>
            <p:cNvSpPr/>
            <p:nvPr/>
          </p:nvSpPr>
          <p:spPr>
            <a:xfrm>
              <a:off x="7412941" y="1065390"/>
              <a:ext cx="971519" cy="971519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1" name="Title 1">
            <a:extLst>
              <a:ext uri="{FF2B5EF4-FFF2-40B4-BE49-F238E27FC236}">
                <a16:creationId xmlns:a16="http://schemas.microsoft.com/office/drawing/2014/main" id="{246F018F-2061-4376-B7CA-EA7870C7DF33}"/>
              </a:ext>
            </a:extLst>
          </p:cNvPr>
          <p:cNvSpPr txBox="1">
            <a:spLocks/>
          </p:cNvSpPr>
          <p:nvPr/>
        </p:nvSpPr>
        <p:spPr>
          <a:xfrm>
            <a:off x="8106203" y="1214879"/>
            <a:ext cx="1022164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ipelines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A4781CB8-6941-4A5A-B54F-1F881A26A730}"/>
              </a:ext>
            </a:extLst>
          </p:cNvPr>
          <p:cNvSpPr txBox="1">
            <a:spLocks/>
          </p:cNvSpPr>
          <p:nvPr/>
        </p:nvSpPr>
        <p:spPr>
          <a:xfrm>
            <a:off x="8125296" y="5086235"/>
            <a:ext cx="931162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talog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AB2ACD1-6140-4842-BC3E-5D762A5714D4}"/>
              </a:ext>
            </a:extLst>
          </p:cNvPr>
          <p:cNvSpPr txBox="1">
            <a:spLocks/>
          </p:cNvSpPr>
          <p:nvPr/>
        </p:nvSpPr>
        <p:spPr>
          <a:xfrm>
            <a:off x="9056458" y="3150557"/>
            <a:ext cx="818269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8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itOps</a:t>
            </a:r>
            <a:endParaRPr lang="en-US" sz="18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C8A0FE49-A2E6-4288-95C1-416B721FE671}"/>
              </a:ext>
            </a:extLst>
          </p:cNvPr>
          <p:cNvSpPr txBox="1">
            <a:spLocks/>
          </p:cNvSpPr>
          <p:nvPr/>
        </p:nvSpPr>
        <p:spPr>
          <a:xfrm>
            <a:off x="9448630" y="1214879"/>
            <a:ext cx="2409941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nually triggered on demand</a:t>
            </a: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4C541DA1-3474-448E-85B7-DCDCAB60D849}"/>
              </a:ext>
            </a:extLst>
          </p:cNvPr>
          <p:cNvSpPr txBox="1">
            <a:spLocks/>
          </p:cNvSpPr>
          <p:nvPr/>
        </p:nvSpPr>
        <p:spPr>
          <a:xfrm>
            <a:off x="10279883" y="3165599"/>
            <a:ext cx="1483492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to triggered on PR merge</a:t>
            </a: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4D0DD9E9-8C48-41FB-81FC-E16539A15F21}"/>
              </a:ext>
            </a:extLst>
          </p:cNvPr>
          <p:cNvSpPr txBox="1">
            <a:spLocks/>
          </p:cNvSpPr>
          <p:nvPr/>
        </p:nvSpPr>
        <p:spPr>
          <a:xfrm>
            <a:off x="9448630" y="5072504"/>
            <a:ext cx="1989601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grammatically triggered on request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E22ED8AD-AED4-42BC-AACE-20BBBC45C718}"/>
              </a:ext>
            </a:extLst>
          </p:cNvPr>
          <p:cNvCxnSpPr/>
          <p:nvPr/>
        </p:nvCxnSpPr>
        <p:spPr>
          <a:xfrm>
            <a:off x="8680862" y="2410691"/>
            <a:ext cx="305195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ED3D272C-D42D-4CD7-B1F7-D4937D10881E}"/>
              </a:ext>
            </a:extLst>
          </p:cNvPr>
          <p:cNvCxnSpPr/>
          <p:nvPr/>
        </p:nvCxnSpPr>
        <p:spPr>
          <a:xfrm>
            <a:off x="8680862" y="4374700"/>
            <a:ext cx="305195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>
            <a:extLst>
              <a:ext uri="{FF2B5EF4-FFF2-40B4-BE49-F238E27FC236}">
                <a16:creationId xmlns:a16="http://schemas.microsoft.com/office/drawing/2014/main" id="{A5174314-214B-44D4-B0A8-B89762E3047B}"/>
              </a:ext>
            </a:extLst>
          </p:cNvPr>
          <p:cNvGrpSpPr/>
          <p:nvPr/>
        </p:nvGrpSpPr>
        <p:grpSpPr>
          <a:xfrm>
            <a:off x="8352866" y="3261826"/>
            <a:ext cx="314657" cy="288759"/>
            <a:chOff x="10487025" y="5419725"/>
            <a:chExt cx="771525" cy="708026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45" name="Freeform 367">
              <a:extLst>
                <a:ext uri="{FF2B5EF4-FFF2-40B4-BE49-F238E27FC236}">
                  <a16:creationId xmlns:a16="http://schemas.microsoft.com/office/drawing/2014/main" id="{5EC80E6D-AA47-4E41-A37B-131180562E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87025" y="5419725"/>
              <a:ext cx="771525" cy="631825"/>
            </a:xfrm>
            <a:custGeom>
              <a:avLst/>
              <a:gdLst>
                <a:gd name="T0" fmla="*/ 179 w 204"/>
                <a:gd name="T1" fmla="*/ 0 h 167"/>
                <a:gd name="T2" fmla="*/ 204 w 204"/>
                <a:gd name="T3" fmla="*/ 26 h 167"/>
                <a:gd name="T4" fmla="*/ 204 w 204"/>
                <a:gd name="T5" fmla="*/ 141 h 167"/>
                <a:gd name="T6" fmla="*/ 179 w 204"/>
                <a:gd name="T7" fmla="*/ 167 h 167"/>
                <a:gd name="T8" fmla="*/ 25 w 204"/>
                <a:gd name="T9" fmla="*/ 167 h 167"/>
                <a:gd name="T10" fmla="*/ 0 w 204"/>
                <a:gd name="T11" fmla="*/ 141 h 167"/>
                <a:gd name="T12" fmla="*/ 0 w 204"/>
                <a:gd name="T13" fmla="*/ 26 h 167"/>
                <a:gd name="T14" fmla="*/ 25 w 204"/>
                <a:gd name="T15" fmla="*/ 0 h 167"/>
                <a:gd name="T16" fmla="*/ 179 w 204"/>
                <a:gd name="T17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4" h="167">
                  <a:moveTo>
                    <a:pt x="179" y="0"/>
                  </a:moveTo>
                  <a:cubicBezTo>
                    <a:pt x="193" y="0"/>
                    <a:pt x="204" y="12"/>
                    <a:pt x="204" y="26"/>
                  </a:cubicBezTo>
                  <a:cubicBezTo>
                    <a:pt x="204" y="141"/>
                    <a:pt x="204" y="141"/>
                    <a:pt x="204" y="141"/>
                  </a:cubicBezTo>
                  <a:cubicBezTo>
                    <a:pt x="204" y="155"/>
                    <a:pt x="193" y="167"/>
                    <a:pt x="179" y="167"/>
                  </a:cubicBezTo>
                  <a:cubicBezTo>
                    <a:pt x="25" y="167"/>
                    <a:pt x="25" y="167"/>
                    <a:pt x="25" y="167"/>
                  </a:cubicBezTo>
                  <a:cubicBezTo>
                    <a:pt x="11" y="167"/>
                    <a:pt x="0" y="155"/>
                    <a:pt x="0" y="141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2"/>
                    <a:pt x="11" y="0"/>
                    <a:pt x="25" y="0"/>
                  </a:cubicBezTo>
                  <a:lnTo>
                    <a:pt x="17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Freeform 368">
              <a:extLst>
                <a:ext uri="{FF2B5EF4-FFF2-40B4-BE49-F238E27FC236}">
                  <a16:creationId xmlns:a16="http://schemas.microsoft.com/office/drawing/2014/main" id="{0ACB42E4-A2BA-4F05-97F9-E43EE7846F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4500" y="5922963"/>
              <a:ext cx="204788" cy="204788"/>
            </a:xfrm>
            <a:custGeom>
              <a:avLst/>
              <a:gdLst>
                <a:gd name="T0" fmla="*/ 54 w 54"/>
                <a:gd name="T1" fmla="*/ 15 h 54"/>
                <a:gd name="T2" fmla="*/ 20 w 54"/>
                <a:gd name="T3" fmla="*/ 50 h 54"/>
                <a:gd name="T4" fmla="*/ 4 w 54"/>
                <a:gd name="T5" fmla="*/ 50 h 54"/>
                <a:gd name="T6" fmla="*/ 4 w 54"/>
                <a:gd name="T7" fmla="*/ 34 h 54"/>
                <a:gd name="T8" fmla="*/ 39 w 54"/>
                <a:gd name="T9" fmla="*/ 0 h 54"/>
                <a:gd name="T10" fmla="*/ 54 w 54"/>
                <a:gd name="T11" fmla="*/ 1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4" h="54">
                  <a:moveTo>
                    <a:pt x="54" y="15"/>
                  </a:moveTo>
                  <a:cubicBezTo>
                    <a:pt x="20" y="50"/>
                    <a:pt x="20" y="50"/>
                    <a:pt x="20" y="50"/>
                  </a:cubicBezTo>
                  <a:cubicBezTo>
                    <a:pt x="15" y="54"/>
                    <a:pt x="8" y="54"/>
                    <a:pt x="4" y="50"/>
                  </a:cubicBezTo>
                  <a:cubicBezTo>
                    <a:pt x="0" y="45"/>
                    <a:pt x="0" y="38"/>
                    <a:pt x="4" y="34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3" y="6"/>
                    <a:pt x="48" y="11"/>
                    <a:pt x="54" y="15"/>
                  </a:cubicBezTo>
                  <a:close/>
                </a:path>
              </a:pathLst>
            </a:custGeom>
            <a:solidFill>
              <a:srgbClr val="8446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Freeform 369">
              <a:extLst>
                <a:ext uri="{FF2B5EF4-FFF2-40B4-BE49-F238E27FC236}">
                  <a16:creationId xmlns:a16="http://schemas.microsoft.com/office/drawing/2014/main" id="{E36109EF-0CF9-43D9-B290-3BED1D328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4500" y="5922963"/>
              <a:ext cx="169863" cy="188913"/>
            </a:xfrm>
            <a:custGeom>
              <a:avLst/>
              <a:gdLst>
                <a:gd name="T0" fmla="*/ 45 w 45"/>
                <a:gd name="T1" fmla="*/ 8 h 50"/>
                <a:gd name="T2" fmla="*/ 4 w 45"/>
                <a:gd name="T3" fmla="*/ 50 h 50"/>
                <a:gd name="T4" fmla="*/ 4 w 45"/>
                <a:gd name="T5" fmla="*/ 34 h 50"/>
                <a:gd name="T6" fmla="*/ 39 w 45"/>
                <a:gd name="T7" fmla="*/ 0 h 50"/>
                <a:gd name="T8" fmla="*/ 45 w 45"/>
                <a:gd name="T9" fmla="*/ 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50">
                  <a:moveTo>
                    <a:pt x="45" y="8"/>
                  </a:moveTo>
                  <a:cubicBezTo>
                    <a:pt x="4" y="50"/>
                    <a:pt x="4" y="50"/>
                    <a:pt x="4" y="50"/>
                  </a:cubicBezTo>
                  <a:cubicBezTo>
                    <a:pt x="0" y="45"/>
                    <a:pt x="0" y="38"/>
                    <a:pt x="4" y="34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1" y="3"/>
                    <a:pt x="43" y="6"/>
                    <a:pt x="45" y="8"/>
                  </a:cubicBezTo>
                  <a:close/>
                </a:path>
              </a:pathLst>
            </a:custGeom>
            <a:solidFill>
              <a:srgbClr val="9C6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" name="Oval 370">
              <a:extLst>
                <a:ext uri="{FF2B5EF4-FFF2-40B4-BE49-F238E27FC236}">
                  <a16:creationId xmlns:a16="http://schemas.microsoft.com/office/drawing/2014/main" id="{E48A5C1D-9A2B-41C9-ADBF-BEB0BF46A9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25150" y="5654675"/>
              <a:ext cx="352425" cy="3524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Freeform 371">
              <a:extLst>
                <a:ext uri="{FF2B5EF4-FFF2-40B4-BE49-F238E27FC236}">
                  <a16:creationId xmlns:a16="http://schemas.microsoft.com/office/drawing/2014/main" id="{5D33A2C2-C5CD-4957-AEB8-AE23F602E1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02925" y="5632450"/>
              <a:ext cx="396875" cy="396875"/>
            </a:xfrm>
            <a:custGeom>
              <a:avLst/>
              <a:gdLst>
                <a:gd name="T0" fmla="*/ 53 w 105"/>
                <a:gd name="T1" fmla="*/ 0 h 105"/>
                <a:gd name="T2" fmla="*/ 0 w 105"/>
                <a:gd name="T3" fmla="*/ 52 h 105"/>
                <a:gd name="T4" fmla="*/ 53 w 105"/>
                <a:gd name="T5" fmla="*/ 105 h 105"/>
                <a:gd name="T6" fmla="*/ 105 w 105"/>
                <a:gd name="T7" fmla="*/ 52 h 105"/>
                <a:gd name="T8" fmla="*/ 53 w 105"/>
                <a:gd name="T9" fmla="*/ 0 h 105"/>
                <a:gd name="T10" fmla="*/ 53 w 105"/>
                <a:gd name="T11" fmla="*/ 6 h 105"/>
                <a:gd name="T12" fmla="*/ 99 w 105"/>
                <a:gd name="T13" fmla="*/ 52 h 105"/>
                <a:gd name="T14" fmla="*/ 53 w 105"/>
                <a:gd name="T15" fmla="*/ 99 h 105"/>
                <a:gd name="T16" fmla="*/ 6 w 105"/>
                <a:gd name="T17" fmla="*/ 52 h 105"/>
                <a:gd name="T18" fmla="*/ 53 w 105"/>
                <a:gd name="T19" fmla="*/ 6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5" h="105">
                  <a:moveTo>
                    <a:pt x="53" y="0"/>
                  </a:moveTo>
                  <a:cubicBezTo>
                    <a:pt x="24" y="0"/>
                    <a:pt x="0" y="23"/>
                    <a:pt x="0" y="52"/>
                  </a:cubicBezTo>
                  <a:cubicBezTo>
                    <a:pt x="0" y="82"/>
                    <a:pt x="24" y="105"/>
                    <a:pt x="53" y="105"/>
                  </a:cubicBezTo>
                  <a:cubicBezTo>
                    <a:pt x="82" y="105"/>
                    <a:pt x="105" y="82"/>
                    <a:pt x="105" y="52"/>
                  </a:cubicBezTo>
                  <a:cubicBezTo>
                    <a:pt x="105" y="23"/>
                    <a:pt x="82" y="0"/>
                    <a:pt x="53" y="0"/>
                  </a:cubicBezTo>
                  <a:close/>
                  <a:moveTo>
                    <a:pt x="53" y="6"/>
                  </a:moveTo>
                  <a:cubicBezTo>
                    <a:pt x="78" y="6"/>
                    <a:pt x="99" y="27"/>
                    <a:pt x="99" y="52"/>
                  </a:cubicBezTo>
                  <a:cubicBezTo>
                    <a:pt x="99" y="78"/>
                    <a:pt x="78" y="99"/>
                    <a:pt x="53" y="99"/>
                  </a:cubicBezTo>
                  <a:cubicBezTo>
                    <a:pt x="27" y="99"/>
                    <a:pt x="6" y="78"/>
                    <a:pt x="6" y="52"/>
                  </a:cubicBezTo>
                  <a:cubicBezTo>
                    <a:pt x="6" y="27"/>
                    <a:pt x="27" y="6"/>
                    <a:pt x="53" y="6"/>
                  </a:cubicBezTo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Oval 372">
              <a:extLst>
                <a:ext uri="{FF2B5EF4-FFF2-40B4-BE49-F238E27FC236}">
                  <a16:creationId xmlns:a16="http://schemas.microsoft.com/office/drawing/2014/main" id="{A78EA274-916D-471C-833C-AB32463003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63250" y="5689600"/>
              <a:ext cx="279400" cy="279400"/>
            </a:xfrm>
            <a:prstGeom prst="ellipse">
              <a:avLst/>
            </a:prstGeom>
            <a:solidFill>
              <a:srgbClr val="6F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Freeform 373">
              <a:extLst>
                <a:ext uri="{FF2B5EF4-FFF2-40B4-BE49-F238E27FC236}">
                  <a16:creationId xmlns:a16="http://schemas.microsoft.com/office/drawing/2014/main" id="{8331D725-F462-43C5-BA9A-794179687C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63250" y="5689600"/>
              <a:ext cx="238125" cy="238125"/>
            </a:xfrm>
            <a:custGeom>
              <a:avLst/>
              <a:gdLst>
                <a:gd name="T0" fmla="*/ 37 w 63"/>
                <a:gd name="T1" fmla="*/ 0 h 63"/>
                <a:gd name="T2" fmla="*/ 0 w 63"/>
                <a:gd name="T3" fmla="*/ 37 h 63"/>
                <a:gd name="T4" fmla="*/ 10 w 63"/>
                <a:gd name="T5" fmla="*/ 63 h 63"/>
                <a:gd name="T6" fmla="*/ 63 w 63"/>
                <a:gd name="T7" fmla="*/ 11 h 63"/>
                <a:gd name="T8" fmla="*/ 37 w 63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63">
                  <a:moveTo>
                    <a:pt x="37" y="0"/>
                  </a:moveTo>
                  <a:cubicBezTo>
                    <a:pt x="16" y="0"/>
                    <a:pt x="0" y="17"/>
                    <a:pt x="0" y="37"/>
                  </a:cubicBezTo>
                  <a:cubicBezTo>
                    <a:pt x="0" y="48"/>
                    <a:pt x="4" y="57"/>
                    <a:pt x="10" y="63"/>
                  </a:cubicBezTo>
                  <a:cubicBezTo>
                    <a:pt x="63" y="11"/>
                    <a:pt x="63" y="11"/>
                    <a:pt x="63" y="11"/>
                  </a:cubicBezTo>
                  <a:cubicBezTo>
                    <a:pt x="56" y="5"/>
                    <a:pt x="47" y="0"/>
                    <a:pt x="37" y="0"/>
                  </a:cubicBezTo>
                  <a:close/>
                </a:path>
              </a:pathLst>
            </a:custGeom>
            <a:solidFill>
              <a:srgbClr val="9CE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Freeform 374">
              <a:extLst>
                <a:ext uri="{FF2B5EF4-FFF2-40B4-BE49-F238E27FC236}">
                  <a16:creationId xmlns:a16="http://schemas.microsoft.com/office/drawing/2014/main" id="{1DFB4173-FFE0-4549-B478-1979F38CD5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87025" y="5419725"/>
              <a:ext cx="771525" cy="147638"/>
            </a:xfrm>
            <a:custGeom>
              <a:avLst/>
              <a:gdLst>
                <a:gd name="T0" fmla="*/ 179 w 204"/>
                <a:gd name="T1" fmla="*/ 0 h 39"/>
                <a:gd name="T2" fmla="*/ 25 w 204"/>
                <a:gd name="T3" fmla="*/ 0 h 39"/>
                <a:gd name="T4" fmla="*/ 0 w 204"/>
                <a:gd name="T5" fmla="*/ 26 h 39"/>
                <a:gd name="T6" fmla="*/ 0 w 204"/>
                <a:gd name="T7" fmla="*/ 39 h 39"/>
                <a:gd name="T8" fmla="*/ 204 w 204"/>
                <a:gd name="T9" fmla="*/ 39 h 39"/>
                <a:gd name="T10" fmla="*/ 204 w 204"/>
                <a:gd name="T11" fmla="*/ 26 h 39"/>
                <a:gd name="T12" fmla="*/ 179 w 204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39">
                  <a:moveTo>
                    <a:pt x="17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204" y="39"/>
                    <a:pt x="204" y="39"/>
                    <a:pt x="204" y="39"/>
                  </a:cubicBezTo>
                  <a:cubicBezTo>
                    <a:pt x="204" y="26"/>
                    <a:pt x="204" y="26"/>
                    <a:pt x="204" y="26"/>
                  </a:cubicBezTo>
                  <a:cubicBezTo>
                    <a:pt x="204" y="12"/>
                    <a:pt x="193" y="0"/>
                    <a:pt x="179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" name="Oval 375">
              <a:extLst>
                <a:ext uri="{FF2B5EF4-FFF2-40B4-BE49-F238E27FC236}">
                  <a16:creationId xmlns:a16="http://schemas.microsoft.com/office/drawing/2014/main" id="{111975E7-F3B2-4A1C-A51E-2FA59088AD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71163" y="5468938"/>
              <a:ext cx="49213" cy="49213"/>
            </a:xfrm>
            <a:prstGeom prst="ellipse">
              <a:avLst/>
            </a:pr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Oval 376">
              <a:extLst>
                <a:ext uri="{FF2B5EF4-FFF2-40B4-BE49-F238E27FC236}">
                  <a16:creationId xmlns:a16="http://schemas.microsoft.com/office/drawing/2014/main" id="{7A8CF8EB-F8E2-4C75-8AEB-6A3F3D4086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69588" y="5468938"/>
              <a:ext cx="44450" cy="49213"/>
            </a:xfrm>
            <a:prstGeom prst="ellipse">
              <a:avLst/>
            </a:pr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5" name="Oval 377">
              <a:extLst>
                <a:ext uri="{FF2B5EF4-FFF2-40B4-BE49-F238E27FC236}">
                  <a16:creationId xmlns:a16="http://schemas.microsoft.com/office/drawing/2014/main" id="{1BBE882E-3FCA-48D4-8E6A-DD9ED8675F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63250" y="5468938"/>
              <a:ext cx="49213" cy="49213"/>
            </a:xfrm>
            <a:prstGeom prst="ellipse">
              <a:avLst/>
            </a:prstGeom>
            <a:solidFill>
              <a:srgbClr val="17B1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A84E2044-D88D-4B2F-BFB6-D4D8F0C7B05B}"/>
              </a:ext>
            </a:extLst>
          </p:cNvPr>
          <p:cNvGrpSpPr/>
          <p:nvPr/>
        </p:nvGrpSpPr>
        <p:grpSpPr>
          <a:xfrm>
            <a:off x="7392128" y="1324032"/>
            <a:ext cx="336080" cy="292993"/>
            <a:chOff x="1216026" y="5511800"/>
            <a:chExt cx="681038" cy="593725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58" name="Freeform 437">
              <a:extLst>
                <a:ext uri="{FF2B5EF4-FFF2-40B4-BE49-F238E27FC236}">
                  <a16:creationId xmlns:a16="http://schemas.microsoft.com/office/drawing/2014/main" id="{0A4487A2-573C-4F43-986C-9D98A08D1F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6026" y="5511800"/>
              <a:ext cx="681038" cy="593725"/>
            </a:xfrm>
            <a:custGeom>
              <a:avLst/>
              <a:gdLst>
                <a:gd name="T0" fmla="*/ 245 w 429"/>
                <a:gd name="T1" fmla="*/ 0 h 374"/>
                <a:gd name="T2" fmla="*/ 0 w 429"/>
                <a:gd name="T3" fmla="*/ 90 h 374"/>
                <a:gd name="T4" fmla="*/ 0 w 429"/>
                <a:gd name="T5" fmla="*/ 281 h 374"/>
                <a:gd name="T6" fmla="*/ 183 w 429"/>
                <a:gd name="T7" fmla="*/ 374 h 374"/>
                <a:gd name="T8" fmla="*/ 429 w 429"/>
                <a:gd name="T9" fmla="*/ 281 h 374"/>
                <a:gd name="T10" fmla="*/ 429 w 429"/>
                <a:gd name="T11" fmla="*/ 90 h 374"/>
                <a:gd name="T12" fmla="*/ 245 w 429"/>
                <a:gd name="T13" fmla="*/ 0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9" h="374">
                  <a:moveTo>
                    <a:pt x="245" y="0"/>
                  </a:moveTo>
                  <a:lnTo>
                    <a:pt x="0" y="90"/>
                  </a:lnTo>
                  <a:lnTo>
                    <a:pt x="0" y="281"/>
                  </a:lnTo>
                  <a:lnTo>
                    <a:pt x="183" y="374"/>
                  </a:lnTo>
                  <a:lnTo>
                    <a:pt x="429" y="281"/>
                  </a:lnTo>
                  <a:lnTo>
                    <a:pt x="429" y="90"/>
                  </a:lnTo>
                  <a:lnTo>
                    <a:pt x="245" y="0"/>
                  </a:lnTo>
                  <a:close/>
                </a:path>
              </a:pathLst>
            </a:cu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" name="Freeform 438">
              <a:extLst>
                <a:ext uri="{FF2B5EF4-FFF2-40B4-BE49-F238E27FC236}">
                  <a16:creationId xmlns:a16="http://schemas.microsoft.com/office/drawing/2014/main" id="{DFCC6E98-013A-4C08-B399-60D44CE74D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538" y="5654675"/>
              <a:ext cx="390525" cy="450850"/>
            </a:xfrm>
            <a:custGeom>
              <a:avLst/>
              <a:gdLst>
                <a:gd name="T0" fmla="*/ 246 w 246"/>
                <a:gd name="T1" fmla="*/ 191 h 284"/>
                <a:gd name="T2" fmla="*/ 0 w 246"/>
                <a:gd name="T3" fmla="*/ 284 h 284"/>
                <a:gd name="T4" fmla="*/ 0 w 246"/>
                <a:gd name="T5" fmla="*/ 93 h 284"/>
                <a:gd name="T6" fmla="*/ 246 w 246"/>
                <a:gd name="T7" fmla="*/ 0 h 284"/>
                <a:gd name="T8" fmla="*/ 246 w 246"/>
                <a:gd name="T9" fmla="*/ 191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284">
                  <a:moveTo>
                    <a:pt x="246" y="191"/>
                  </a:moveTo>
                  <a:lnTo>
                    <a:pt x="0" y="284"/>
                  </a:lnTo>
                  <a:lnTo>
                    <a:pt x="0" y="93"/>
                  </a:lnTo>
                  <a:lnTo>
                    <a:pt x="246" y="0"/>
                  </a:lnTo>
                  <a:lnTo>
                    <a:pt x="246" y="191"/>
                  </a:ln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0" name="Freeform 439">
              <a:extLst>
                <a:ext uri="{FF2B5EF4-FFF2-40B4-BE49-F238E27FC236}">
                  <a16:creationId xmlns:a16="http://schemas.microsoft.com/office/drawing/2014/main" id="{6E852949-DA86-424A-8FA2-113ABD0CCD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6026" y="5654675"/>
              <a:ext cx="290513" cy="450850"/>
            </a:xfrm>
            <a:custGeom>
              <a:avLst/>
              <a:gdLst>
                <a:gd name="T0" fmla="*/ 0 w 183"/>
                <a:gd name="T1" fmla="*/ 191 h 284"/>
                <a:gd name="T2" fmla="*/ 183 w 183"/>
                <a:gd name="T3" fmla="*/ 284 h 284"/>
                <a:gd name="T4" fmla="*/ 183 w 183"/>
                <a:gd name="T5" fmla="*/ 93 h 284"/>
                <a:gd name="T6" fmla="*/ 0 w 183"/>
                <a:gd name="T7" fmla="*/ 0 h 284"/>
                <a:gd name="T8" fmla="*/ 0 w 183"/>
                <a:gd name="T9" fmla="*/ 191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284">
                  <a:moveTo>
                    <a:pt x="0" y="191"/>
                  </a:moveTo>
                  <a:lnTo>
                    <a:pt x="183" y="284"/>
                  </a:lnTo>
                  <a:lnTo>
                    <a:pt x="183" y="93"/>
                  </a:lnTo>
                  <a:lnTo>
                    <a:pt x="0" y="0"/>
                  </a:lnTo>
                  <a:lnTo>
                    <a:pt x="0" y="191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440">
              <a:extLst>
                <a:ext uri="{FF2B5EF4-FFF2-40B4-BE49-F238E27FC236}">
                  <a16:creationId xmlns:a16="http://schemas.microsoft.com/office/drawing/2014/main" id="{94E543AD-72C3-41EB-9366-18920D3E7E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7326" y="5681663"/>
              <a:ext cx="147638" cy="71438"/>
            </a:xfrm>
            <a:custGeom>
              <a:avLst/>
              <a:gdLst>
                <a:gd name="T0" fmla="*/ 39 w 39"/>
                <a:gd name="T1" fmla="*/ 0 h 19"/>
                <a:gd name="T2" fmla="*/ 39 w 39"/>
                <a:gd name="T3" fmla="*/ 12 h 19"/>
                <a:gd name="T4" fmla="*/ 20 w 39"/>
                <a:gd name="T5" fmla="*/ 19 h 19"/>
                <a:gd name="T6" fmla="*/ 0 w 39"/>
                <a:gd name="T7" fmla="*/ 12 h 19"/>
                <a:gd name="T8" fmla="*/ 0 w 39"/>
                <a:gd name="T9" fmla="*/ 0 h 19"/>
                <a:gd name="T10" fmla="*/ 20 w 39"/>
                <a:gd name="T11" fmla="*/ 6 h 19"/>
                <a:gd name="T12" fmla="*/ 39 w 39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19">
                  <a:moveTo>
                    <a:pt x="39" y="0"/>
                  </a:moveTo>
                  <a:cubicBezTo>
                    <a:pt x="39" y="12"/>
                    <a:pt x="39" y="12"/>
                    <a:pt x="39" y="12"/>
                  </a:cubicBezTo>
                  <a:cubicBezTo>
                    <a:pt x="39" y="16"/>
                    <a:pt x="30" y="19"/>
                    <a:pt x="20" y="19"/>
                  </a:cubicBezTo>
                  <a:cubicBezTo>
                    <a:pt x="9" y="19"/>
                    <a:pt x="0" y="16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9" y="6"/>
                    <a:pt x="20" y="6"/>
                  </a:cubicBezTo>
                  <a:cubicBezTo>
                    <a:pt x="30" y="6"/>
                    <a:pt x="39" y="3"/>
                    <a:pt x="39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Oval 441">
              <a:extLst>
                <a:ext uri="{FF2B5EF4-FFF2-40B4-BE49-F238E27FC236}">
                  <a16:creationId xmlns:a16="http://schemas.microsoft.com/office/drawing/2014/main" id="{13D38C20-3A27-4AD7-8BF7-B786142E4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57326" y="5654675"/>
              <a:ext cx="147638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3" name="Freeform 442">
              <a:extLst>
                <a:ext uri="{FF2B5EF4-FFF2-40B4-BE49-F238E27FC236}">
                  <a16:creationId xmlns:a16="http://schemas.microsoft.com/office/drawing/2014/main" id="{9AD04A53-1710-4EB6-9AB9-D044C34854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4451" y="5605463"/>
              <a:ext cx="142875" cy="76200"/>
            </a:xfrm>
            <a:custGeom>
              <a:avLst/>
              <a:gdLst>
                <a:gd name="T0" fmla="*/ 38 w 38"/>
                <a:gd name="T1" fmla="*/ 0 h 20"/>
                <a:gd name="T2" fmla="*/ 38 w 38"/>
                <a:gd name="T3" fmla="*/ 13 h 20"/>
                <a:gd name="T4" fmla="*/ 19 w 38"/>
                <a:gd name="T5" fmla="*/ 20 h 20"/>
                <a:gd name="T6" fmla="*/ 0 w 38"/>
                <a:gd name="T7" fmla="*/ 13 h 20"/>
                <a:gd name="T8" fmla="*/ 0 w 38"/>
                <a:gd name="T9" fmla="*/ 0 h 20"/>
                <a:gd name="T10" fmla="*/ 19 w 38"/>
                <a:gd name="T11" fmla="*/ 7 h 20"/>
                <a:gd name="T12" fmla="*/ 38 w 38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20">
                  <a:moveTo>
                    <a:pt x="38" y="0"/>
                  </a:moveTo>
                  <a:cubicBezTo>
                    <a:pt x="38" y="13"/>
                    <a:pt x="38" y="13"/>
                    <a:pt x="38" y="13"/>
                  </a:cubicBezTo>
                  <a:cubicBezTo>
                    <a:pt x="38" y="17"/>
                    <a:pt x="30" y="20"/>
                    <a:pt x="19" y="20"/>
                  </a:cubicBezTo>
                  <a:cubicBezTo>
                    <a:pt x="9" y="20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9" y="7"/>
                    <a:pt x="19" y="7"/>
                  </a:cubicBezTo>
                  <a:cubicBezTo>
                    <a:pt x="30" y="7"/>
                    <a:pt x="38" y="4"/>
                    <a:pt x="38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4" name="Oval 443">
              <a:extLst>
                <a:ext uri="{FF2B5EF4-FFF2-40B4-BE49-F238E27FC236}">
                  <a16:creationId xmlns:a16="http://schemas.microsoft.com/office/drawing/2014/main" id="{9E16199A-699E-4B5E-B84A-52CA293C0C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4451" y="5583238"/>
              <a:ext cx="142875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5" name="Freeform 444">
              <a:extLst>
                <a:ext uri="{FF2B5EF4-FFF2-40B4-BE49-F238E27FC236}">
                  <a16:creationId xmlns:a16="http://schemas.microsoft.com/office/drawing/2014/main" id="{7D472713-64D7-41CA-A289-C9B712817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538" y="5534025"/>
              <a:ext cx="147638" cy="71438"/>
            </a:xfrm>
            <a:custGeom>
              <a:avLst/>
              <a:gdLst>
                <a:gd name="T0" fmla="*/ 39 w 39"/>
                <a:gd name="T1" fmla="*/ 0 h 19"/>
                <a:gd name="T2" fmla="*/ 39 w 39"/>
                <a:gd name="T3" fmla="*/ 13 h 19"/>
                <a:gd name="T4" fmla="*/ 19 w 39"/>
                <a:gd name="T5" fmla="*/ 19 h 19"/>
                <a:gd name="T6" fmla="*/ 0 w 39"/>
                <a:gd name="T7" fmla="*/ 13 h 19"/>
                <a:gd name="T8" fmla="*/ 0 w 39"/>
                <a:gd name="T9" fmla="*/ 0 h 19"/>
                <a:gd name="T10" fmla="*/ 19 w 39"/>
                <a:gd name="T11" fmla="*/ 7 h 19"/>
                <a:gd name="T12" fmla="*/ 39 w 39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19">
                  <a:moveTo>
                    <a:pt x="39" y="0"/>
                  </a:moveTo>
                  <a:cubicBezTo>
                    <a:pt x="39" y="13"/>
                    <a:pt x="39" y="13"/>
                    <a:pt x="39" y="13"/>
                  </a:cubicBezTo>
                  <a:cubicBezTo>
                    <a:pt x="39" y="17"/>
                    <a:pt x="30" y="19"/>
                    <a:pt x="19" y="19"/>
                  </a:cubicBezTo>
                  <a:cubicBezTo>
                    <a:pt x="9" y="19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9" y="7"/>
                    <a:pt x="19" y="7"/>
                  </a:cubicBezTo>
                  <a:cubicBezTo>
                    <a:pt x="30" y="7"/>
                    <a:pt x="39" y="4"/>
                    <a:pt x="39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6" name="Oval 445">
              <a:extLst>
                <a:ext uri="{FF2B5EF4-FFF2-40B4-BE49-F238E27FC236}">
                  <a16:creationId xmlns:a16="http://schemas.microsoft.com/office/drawing/2014/main" id="{15B75979-837A-4A22-BE57-A7B02A0FFC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06538" y="5511800"/>
              <a:ext cx="147638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7" name="Freeform 446">
              <a:extLst>
                <a:ext uri="{FF2B5EF4-FFF2-40B4-BE49-F238E27FC236}">
                  <a16:creationId xmlns:a16="http://schemas.microsoft.com/office/drawing/2014/main" id="{0AD5E430-A826-4820-B5B6-B238B283D2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4176" y="5605463"/>
              <a:ext cx="144463" cy="76200"/>
            </a:xfrm>
            <a:custGeom>
              <a:avLst/>
              <a:gdLst>
                <a:gd name="T0" fmla="*/ 38 w 38"/>
                <a:gd name="T1" fmla="*/ 0 h 20"/>
                <a:gd name="T2" fmla="*/ 38 w 38"/>
                <a:gd name="T3" fmla="*/ 13 h 20"/>
                <a:gd name="T4" fmla="*/ 19 w 38"/>
                <a:gd name="T5" fmla="*/ 20 h 20"/>
                <a:gd name="T6" fmla="*/ 0 w 38"/>
                <a:gd name="T7" fmla="*/ 13 h 20"/>
                <a:gd name="T8" fmla="*/ 0 w 38"/>
                <a:gd name="T9" fmla="*/ 0 h 20"/>
                <a:gd name="T10" fmla="*/ 19 w 38"/>
                <a:gd name="T11" fmla="*/ 7 h 20"/>
                <a:gd name="T12" fmla="*/ 38 w 38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20">
                  <a:moveTo>
                    <a:pt x="38" y="0"/>
                  </a:moveTo>
                  <a:cubicBezTo>
                    <a:pt x="38" y="13"/>
                    <a:pt x="38" y="13"/>
                    <a:pt x="38" y="13"/>
                  </a:cubicBezTo>
                  <a:cubicBezTo>
                    <a:pt x="38" y="17"/>
                    <a:pt x="29" y="20"/>
                    <a:pt x="19" y="20"/>
                  </a:cubicBezTo>
                  <a:cubicBezTo>
                    <a:pt x="8" y="20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8" y="7"/>
                    <a:pt x="19" y="7"/>
                  </a:cubicBezTo>
                  <a:cubicBezTo>
                    <a:pt x="29" y="7"/>
                    <a:pt x="38" y="4"/>
                    <a:pt x="38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8" name="Oval 447">
              <a:extLst>
                <a:ext uri="{FF2B5EF4-FFF2-40B4-BE49-F238E27FC236}">
                  <a16:creationId xmlns:a16="http://schemas.microsoft.com/office/drawing/2014/main" id="{14F9E393-61F4-41FC-9654-337D5698A6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54176" y="5583238"/>
              <a:ext cx="144463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C81A39A6-2A1D-46DA-872A-BFF7104E18A4}"/>
              </a:ext>
            </a:extLst>
          </p:cNvPr>
          <p:cNvGrpSpPr/>
          <p:nvPr/>
        </p:nvGrpSpPr>
        <p:grpSpPr>
          <a:xfrm>
            <a:off x="7402840" y="5193619"/>
            <a:ext cx="314657" cy="296529"/>
            <a:chOff x="1169988" y="5418138"/>
            <a:chExt cx="771526" cy="727076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71" name="Freeform 456">
              <a:extLst>
                <a:ext uri="{FF2B5EF4-FFF2-40B4-BE49-F238E27FC236}">
                  <a16:creationId xmlns:a16="http://schemas.microsoft.com/office/drawing/2014/main" id="{8E5C5B5C-6AB0-4AAD-BB18-E14840F75E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988" y="6099176"/>
              <a:ext cx="771525" cy="46038"/>
            </a:xfrm>
            <a:custGeom>
              <a:avLst/>
              <a:gdLst>
                <a:gd name="T0" fmla="*/ 204 w 204"/>
                <a:gd name="T1" fmla="*/ 12 h 12"/>
                <a:gd name="T2" fmla="*/ 0 w 204"/>
                <a:gd name="T3" fmla="*/ 12 h 12"/>
                <a:gd name="T4" fmla="*/ 0 w 204"/>
                <a:gd name="T5" fmla="*/ 12 h 12"/>
                <a:gd name="T6" fmla="*/ 12 w 204"/>
                <a:gd name="T7" fmla="*/ 0 h 12"/>
                <a:gd name="T8" fmla="*/ 192 w 204"/>
                <a:gd name="T9" fmla="*/ 0 h 12"/>
                <a:gd name="T10" fmla="*/ 204 w 204"/>
                <a:gd name="T1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4" h="12">
                  <a:moveTo>
                    <a:pt x="204" y="12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199" y="0"/>
                    <a:pt x="204" y="5"/>
                    <a:pt x="204" y="12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2" name="Rectangle 457">
              <a:extLst>
                <a:ext uri="{FF2B5EF4-FFF2-40B4-BE49-F238E27FC236}">
                  <a16:creationId xmlns:a16="http://schemas.microsoft.com/office/drawing/2014/main" id="{E6F5ED6C-9CE1-4A24-BCC5-5F8CEABD66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6026" y="5661026"/>
              <a:ext cx="681038" cy="4381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3" name="Freeform 458">
              <a:extLst>
                <a:ext uri="{FF2B5EF4-FFF2-40B4-BE49-F238E27FC236}">
                  <a16:creationId xmlns:a16="http://schemas.microsoft.com/office/drawing/2014/main" id="{13F014E9-A572-41DC-8502-D17BDDDF2B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988" y="5661026"/>
              <a:ext cx="109538" cy="49213"/>
            </a:xfrm>
            <a:custGeom>
              <a:avLst/>
              <a:gdLst>
                <a:gd name="T0" fmla="*/ 29 w 29"/>
                <a:gd name="T1" fmla="*/ 0 h 13"/>
                <a:gd name="T2" fmla="*/ 14 w 29"/>
                <a:gd name="T3" fmla="*/ 13 h 13"/>
                <a:gd name="T4" fmla="*/ 0 w 29"/>
                <a:gd name="T5" fmla="*/ 0 h 13"/>
                <a:gd name="T6" fmla="*/ 29 w 29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3">
                  <a:moveTo>
                    <a:pt x="29" y="0"/>
                  </a:moveTo>
                  <a:cubicBezTo>
                    <a:pt x="29" y="7"/>
                    <a:pt x="22" y="13"/>
                    <a:pt x="14" y="13"/>
                  </a:cubicBezTo>
                  <a:cubicBezTo>
                    <a:pt x="6" y="13"/>
                    <a:pt x="0" y="7"/>
                    <a:pt x="0" y="0"/>
                  </a:cubicBezTo>
                  <a:lnTo>
                    <a:pt x="29" y="0"/>
                  </a:ln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4" name="Freeform 459">
              <a:extLst>
                <a:ext uri="{FF2B5EF4-FFF2-40B4-BE49-F238E27FC236}">
                  <a16:creationId xmlns:a16="http://schemas.microsoft.com/office/drawing/2014/main" id="{AE7FF3AC-4FE1-45C4-A4A5-E644CC06E4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9526" y="5661026"/>
              <a:ext cx="109538" cy="49213"/>
            </a:xfrm>
            <a:custGeom>
              <a:avLst/>
              <a:gdLst>
                <a:gd name="T0" fmla="*/ 29 w 29"/>
                <a:gd name="T1" fmla="*/ 0 h 13"/>
                <a:gd name="T2" fmla="*/ 14 w 29"/>
                <a:gd name="T3" fmla="*/ 13 h 13"/>
                <a:gd name="T4" fmla="*/ 0 w 29"/>
                <a:gd name="T5" fmla="*/ 0 h 13"/>
                <a:gd name="T6" fmla="*/ 29 w 29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3">
                  <a:moveTo>
                    <a:pt x="29" y="0"/>
                  </a:moveTo>
                  <a:cubicBezTo>
                    <a:pt x="29" y="7"/>
                    <a:pt x="23" y="13"/>
                    <a:pt x="14" y="13"/>
                  </a:cubicBezTo>
                  <a:cubicBezTo>
                    <a:pt x="6" y="13"/>
                    <a:pt x="0" y="7"/>
                    <a:pt x="0" y="0"/>
                  </a:cubicBezTo>
                  <a:lnTo>
                    <a:pt x="29" y="0"/>
                  </a:ln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5" name="Freeform 460">
              <a:extLst>
                <a:ext uri="{FF2B5EF4-FFF2-40B4-BE49-F238E27FC236}">
                  <a16:creationId xmlns:a16="http://schemas.microsoft.com/office/drawing/2014/main" id="{6B20B824-439B-40A9-A394-12930C5F7F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9063" y="5661026"/>
              <a:ext cx="109538" cy="49213"/>
            </a:xfrm>
            <a:custGeom>
              <a:avLst/>
              <a:gdLst>
                <a:gd name="T0" fmla="*/ 29 w 29"/>
                <a:gd name="T1" fmla="*/ 0 h 13"/>
                <a:gd name="T2" fmla="*/ 15 w 29"/>
                <a:gd name="T3" fmla="*/ 13 h 13"/>
                <a:gd name="T4" fmla="*/ 0 w 29"/>
                <a:gd name="T5" fmla="*/ 0 h 13"/>
                <a:gd name="T6" fmla="*/ 29 w 29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3">
                  <a:moveTo>
                    <a:pt x="29" y="0"/>
                  </a:moveTo>
                  <a:cubicBezTo>
                    <a:pt x="29" y="7"/>
                    <a:pt x="23" y="13"/>
                    <a:pt x="15" y="13"/>
                  </a:cubicBezTo>
                  <a:cubicBezTo>
                    <a:pt x="7" y="13"/>
                    <a:pt x="0" y="7"/>
                    <a:pt x="0" y="0"/>
                  </a:cubicBezTo>
                  <a:lnTo>
                    <a:pt x="29" y="0"/>
                  </a:ln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6" name="Freeform 461">
              <a:extLst>
                <a:ext uri="{FF2B5EF4-FFF2-40B4-BE49-F238E27FC236}">
                  <a16:creationId xmlns:a16="http://schemas.microsoft.com/office/drawing/2014/main" id="{F66B28CF-70F6-48DC-A7EC-22162E00E6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8601" y="5661026"/>
              <a:ext cx="114300" cy="49213"/>
            </a:xfrm>
            <a:custGeom>
              <a:avLst/>
              <a:gdLst>
                <a:gd name="T0" fmla="*/ 30 w 30"/>
                <a:gd name="T1" fmla="*/ 0 h 13"/>
                <a:gd name="T2" fmla="*/ 15 w 30"/>
                <a:gd name="T3" fmla="*/ 13 h 13"/>
                <a:gd name="T4" fmla="*/ 0 w 30"/>
                <a:gd name="T5" fmla="*/ 0 h 13"/>
                <a:gd name="T6" fmla="*/ 30 w 30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3">
                  <a:moveTo>
                    <a:pt x="30" y="0"/>
                  </a:moveTo>
                  <a:cubicBezTo>
                    <a:pt x="30" y="7"/>
                    <a:pt x="23" y="13"/>
                    <a:pt x="15" y="13"/>
                  </a:cubicBezTo>
                  <a:cubicBezTo>
                    <a:pt x="7" y="13"/>
                    <a:pt x="0" y="7"/>
                    <a:pt x="0" y="0"/>
                  </a:cubicBezTo>
                  <a:lnTo>
                    <a:pt x="30" y="0"/>
                  </a:ln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7" name="Freeform 462">
              <a:extLst>
                <a:ext uri="{FF2B5EF4-FFF2-40B4-BE49-F238E27FC236}">
                  <a16:creationId xmlns:a16="http://schemas.microsoft.com/office/drawing/2014/main" id="{6AAD7025-547A-45E0-B5E3-DD3FF34854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2438" y="5661026"/>
              <a:ext cx="109538" cy="49213"/>
            </a:xfrm>
            <a:custGeom>
              <a:avLst/>
              <a:gdLst>
                <a:gd name="T0" fmla="*/ 29 w 29"/>
                <a:gd name="T1" fmla="*/ 0 h 13"/>
                <a:gd name="T2" fmla="*/ 15 w 29"/>
                <a:gd name="T3" fmla="*/ 13 h 13"/>
                <a:gd name="T4" fmla="*/ 0 w 29"/>
                <a:gd name="T5" fmla="*/ 0 h 13"/>
                <a:gd name="T6" fmla="*/ 29 w 29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3">
                  <a:moveTo>
                    <a:pt x="29" y="0"/>
                  </a:moveTo>
                  <a:cubicBezTo>
                    <a:pt x="29" y="7"/>
                    <a:pt x="23" y="13"/>
                    <a:pt x="15" y="13"/>
                  </a:cubicBezTo>
                  <a:cubicBezTo>
                    <a:pt x="6" y="13"/>
                    <a:pt x="0" y="7"/>
                    <a:pt x="0" y="0"/>
                  </a:cubicBezTo>
                  <a:lnTo>
                    <a:pt x="29" y="0"/>
                  </a:ln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8" name="Freeform 463">
              <a:extLst>
                <a:ext uri="{FF2B5EF4-FFF2-40B4-BE49-F238E27FC236}">
                  <a16:creationId xmlns:a16="http://schemas.microsoft.com/office/drawing/2014/main" id="{D9E4EB3F-40F8-41E6-BE3D-4D0DA6E215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2901" y="5661026"/>
              <a:ext cx="109538" cy="49213"/>
            </a:xfrm>
            <a:custGeom>
              <a:avLst/>
              <a:gdLst>
                <a:gd name="T0" fmla="*/ 29 w 29"/>
                <a:gd name="T1" fmla="*/ 0 h 13"/>
                <a:gd name="T2" fmla="*/ 14 w 29"/>
                <a:gd name="T3" fmla="*/ 13 h 13"/>
                <a:gd name="T4" fmla="*/ 0 w 29"/>
                <a:gd name="T5" fmla="*/ 0 h 13"/>
                <a:gd name="T6" fmla="*/ 29 w 29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3">
                  <a:moveTo>
                    <a:pt x="29" y="0"/>
                  </a:moveTo>
                  <a:cubicBezTo>
                    <a:pt x="29" y="7"/>
                    <a:pt x="22" y="13"/>
                    <a:pt x="14" y="13"/>
                  </a:cubicBezTo>
                  <a:cubicBezTo>
                    <a:pt x="6" y="13"/>
                    <a:pt x="0" y="7"/>
                    <a:pt x="0" y="0"/>
                  </a:cubicBezTo>
                  <a:lnTo>
                    <a:pt x="29" y="0"/>
                  </a:ln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9" name="Freeform 464">
              <a:extLst>
                <a:ext uri="{FF2B5EF4-FFF2-40B4-BE49-F238E27FC236}">
                  <a16:creationId xmlns:a16="http://schemas.microsoft.com/office/drawing/2014/main" id="{CD673867-7EB2-4F61-B276-66C6891699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1976" y="5661026"/>
              <a:ext cx="109538" cy="49213"/>
            </a:xfrm>
            <a:custGeom>
              <a:avLst/>
              <a:gdLst>
                <a:gd name="T0" fmla="*/ 29 w 29"/>
                <a:gd name="T1" fmla="*/ 0 h 13"/>
                <a:gd name="T2" fmla="*/ 15 w 29"/>
                <a:gd name="T3" fmla="*/ 13 h 13"/>
                <a:gd name="T4" fmla="*/ 0 w 29"/>
                <a:gd name="T5" fmla="*/ 0 h 13"/>
                <a:gd name="T6" fmla="*/ 29 w 29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3">
                  <a:moveTo>
                    <a:pt x="29" y="0"/>
                  </a:moveTo>
                  <a:cubicBezTo>
                    <a:pt x="29" y="7"/>
                    <a:pt x="23" y="13"/>
                    <a:pt x="15" y="13"/>
                  </a:cubicBezTo>
                  <a:cubicBezTo>
                    <a:pt x="7" y="13"/>
                    <a:pt x="0" y="7"/>
                    <a:pt x="0" y="0"/>
                  </a:cubicBezTo>
                  <a:lnTo>
                    <a:pt x="29" y="0"/>
                  </a:ln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0" name="Freeform 465">
              <a:extLst>
                <a:ext uri="{FF2B5EF4-FFF2-40B4-BE49-F238E27FC236}">
                  <a16:creationId xmlns:a16="http://schemas.microsoft.com/office/drawing/2014/main" id="{CB1E454A-D500-44AB-A889-9FFDF3791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988" y="5418138"/>
              <a:ext cx="204788" cy="242888"/>
            </a:xfrm>
            <a:custGeom>
              <a:avLst/>
              <a:gdLst>
                <a:gd name="T0" fmla="*/ 0 w 129"/>
                <a:gd name="T1" fmla="*/ 153 h 153"/>
                <a:gd name="T2" fmla="*/ 69 w 129"/>
                <a:gd name="T3" fmla="*/ 153 h 153"/>
                <a:gd name="T4" fmla="*/ 129 w 129"/>
                <a:gd name="T5" fmla="*/ 0 h 153"/>
                <a:gd name="T6" fmla="*/ 69 w 129"/>
                <a:gd name="T7" fmla="*/ 0 h 153"/>
                <a:gd name="T8" fmla="*/ 0 w 129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53">
                  <a:moveTo>
                    <a:pt x="0" y="153"/>
                  </a:moveTo>
                  <a:lnTo>
                    <a:pt x="69" y="153"/>
                  </a:lnTo>
                  <a:lnTo>
                    <a:pt x="129" y="0"/>
                  </a:lnTo>
                  <a:lnTo>
                    <a:pt x="69" y="0"/>
                  </a:lnTo>
                  <a:lnTo>
                    <a:pt x="0" y="153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1" name="Freeform 466">
              <a:extLst>
                <a:ext uri="{FF2B5EF4-FFF2-40B4-BE49-F238E27FC236}">
                  <a16:creationId xmlns:a16="http://schemas.microsoft.com/office/drawing/2014/main" id="{0A3991F8-FBEC-4CA9-A150-0D6BC4C462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9526" y="5418138"/>
              <a:ext cx="177800" cy="242888"/>
            </a:xfrm>
            <a:custGeom>
              <a:avLst/>
              <a:gdLst>
                <a:gd name="T0" fmla="*/ 0 w 112"/>
                <a:gd name="T1" fmla="*/ 153 h 153"/>
                <a:gd name="T2" fmla="*/ 69 w 112"/>
                <a:gd name="T3" fmla="*/ 153 h 153"/>
                <a:gd name="T4" fmla="*/ 112 w 112"/>
                <a:gd name="T5" fmla="*/ 0 h 153"/>
                <a:gd name="T6" fmla="*/ 60 w 112"/>
                <a:gd name="T7" fmla="*/ 0 h 153"/>
                <a:gd name="T8" fmla="*/ 0 w 112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" h="153">
                  <a:moveTo>
                    <a:pt x="0" y="153"/>
                  </a:moveTo>
                  <a:lnTo>
                    <a:pt x="69" y="153"/>
                  </a:lnTo>
                  <a:lnTo>
                    <a:pt x="112" y="0"/>
                  </a:lnTo>
                  <a:lnTo>
                    <a:pt x="60" y="0"/>
                  </a:lnTo>
                  <a:lnTo>
                    <a:pt x="0" y="1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2" name="Freeform 467">
              <a:extLst>
                <a:ext uri="{FF2B5EF4-FFF2-40B4-BE49-F238E27FC236}">
                  <a16:creationId xmlns:a16="http://schemas.microsoft.com/office/drawing/2014/main" id="{BB93F745-7B7D-4B8B-8179-E4A6027AC4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9063" y="5418138"/>
              <a:ext cx="152400" cy="242888"/>
            </a:xfrm>
            <a:custGeom>
              <a:avLst/>
              <a:gdLst>
                <a:gd name="T0" fmla="*/ 0 w 96"/>
                <a:gd name="T1" fmla="*/ 153 h 153"/>
                <a:gd name="T2" fmla="*/ 69 w 96"/>
                <a:gd name="T3" fmla="*/ 153 h 153"/>
                <a:gd name="T4" fmla="*/ 96 w 96"/>
                <a:gd name="T5" fmla="*/ 0 h 153"/>
                <a:gd name="T6" fmla="*/ 43 w 96"/>
                <a:gd name="T7" fmla="*/ 0 h 153"/>
                <a:gd name="T8" fmla="*/ 0 w 96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153">
                  <a:moveTo>
                    <a:pt x="0" y="153"/>
                  </a:moveTo>
                  <a:lnTo>
                    <a:pt x="69" y="153"/>
                  </a:lnTo>
                  <a:lnTo>
                    <a:pt x="96" y="0"/>
                  </a:lnTo>
                  <a:lnTo>
                    <a:pt x="43" y="0"/>
                  </a:lnTo>
                  <a:lnTo>
                    <a:pt x="0" y="153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3" name="Freeform 468">
              <a:extLst>
                <a:ext uri="{FF2B5EF4-FFF2-40B4-BE49-F238E27FC236}">
                  <a16:creationId xmlns:a16="http://schemas.microsoft.com/office/drawing/2014/main" id="{18CA3599-BA5D-4726-A23E-1B472B9AA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8601" y="5418138"/>
              <a:ext cx="114300" cy="242888"/>
            </a:xfrm>
            <a:custGeom>
              <a:avLst/>
              <a:gdLst>
                <a:gd name="T0" fmla="*/ 0 w 72"/>
                <a:gd name="T1" fmla="*/ 153 h 153"/>
                <a:gd name="T2" fmla="*/ 72 w 72"/>
                <a:gd name="T3" fmla="*/ 153 h 153"/>
                <a:gd name="T4" fmla="*/ 72 w 72"/>
                <a:gd name="T5" fmla="*/ 0 h 153"/>
                <a:gd name="T6" fmla="*/ 27 w 72"/>
                <a:gd name="T7" fmla="*/ 0 h 153"/>
                <a:gd name="T8" fmla="*/ 0 w 72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153">
                  <a:moveTo>
                    <a:pt x="0" y="153"/>
                  </a:moveTo>
                  <a:lnTo>
                    <a:pt x="72" y="153"/>
                  </a:lnTo>
                  <a:lnTo>
                    <a:pt x="72" y="0"/>
                  </a:lnTo>
                  <a:lnTo>
                    <a:pt x="27" y="0"/>
                  </a:lnTo>
                  <a:lnTo>
                    <a:pt x="0" y="1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4" name="Freeform 469">
              <a:extLst>
                <a:ext uri="{FF2B5EF4-FFF2-40B4-BE49-F238E27FC236}">
                  <a16:creationId xmlns:a16="http://schemas.microsoft.com/office/drawing/2014/main" id="{48A02056-32CE-4D99-A066-8C080752E8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3713" y="5418138"/>
              <a:ext cx="177800" cy="242888"/>
            </a:xfrm>
            <a:custGeom>
              <a:avLst/>
              <a:gdLst>
                <a:gd name="T0" fmla="*/ 112 w 112"/>
                <a:gd name="T1" fmla="*/ 153 h 153"/>
                <a:gd name="T2" fmla="*/ 43 w 112"/>
                <a:gd name="T3" fmla="*/ 153 h 153"/>
                <a:gd name="T4" fmla="*/ 0 w 112"/>
                <a:gd name="T5" fmla="*/ 0 h 153"/>
                <a:gd name="T6" fmla="*/ 53 w 112"/>
                <a:gd name="T7" fmla="*/ 0 h 153"/>
                <a:gd name="T8" fmla="*/ 112 w 112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" h="153">
                  <a:moveTo>
                    <a:pt x="112" y="153"/>
                  </a:moveTo>
                  <a:lnTo>
                    <a:pt x="43" y="153"/>
                  </a:lnTo>
                  <a:lnTo>
                    <a:pt x="0" y="0"/>
                  </a:lnTo>
                  <a:lnTo>
                    <a:pt x="53" y="0"/>
                  </a:lnTo>
                  <a:lnTo>
                    <a:pt x="112" y="153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5" name="Freeform 470">
              <a:extLst>
                <a:ext uri="{FF2B5EF4-FFF2-40B4-BE49-F238E27FC236}">
                  <a16:creationId xmlns:a16="http://schemas.microsoft.com/office/drawing/2014/main" id="{5A78025A-0AB6-4F5D-B674-727D29FE55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1163" y="5418138"/>
              <a:ext cx="150813" cy="242888"/>
            </a:xfrm>
            <a:custGeom>
              <a:avLst/>
              <a:gdLst>
                <a:gd name="T0" fmla="*/ 95 w 95"/>
                <a:gd name="T1" fmla="*/ 153 h 153"/>
                <a:gd name="T2" fmla="*/ 26 w 95"/>
                <a:gd name="T3" fmla="*/ 153 h 153"/>
                <a:gd name="T4" fmla="*/ 0 w 95"/>
                <a:gd name="T5" fmla="*/ 0 h 153"/>
                <a:gd name="T6" fmla="*/ 52 w 95"/>
                <a:gd name="T7" fmla="*/ 0 h 153"/>
                <a:gd name="T8" fmla="*/ 95 w 95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153">
                  <a:moveTo>
                    <a:pt x="95" y="153"/>
                  </a:moveTo>
                  <a:lnTo>
                    <a:pt x="26" y="153"/>
                  </a:lnTo>
                  <a:lnTo>
                    <a:pt x="0" y="0"/>
                  </a:lnTo>
                  <a:lnTo>
                    <a:pt x="52" y="0"/>
                  </a:lnTo>
                  <a:lnTo>
                    <a:pt x="95" y="1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6" name="Freeform 471">
              <a:extLst>
                <a:ext uri="{FF2B5EF4-FFF2-40B4-BE49-F238E27FC236}">
                  <a16:creationId xmlns:a16="http://schemas.microsoft.com/office/drawing/2014/main" id="{7EBD29E3-E152-4B1A-B997-02303C4AE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2901" y="5418138"/>
              <a:ext cx="109538" cy="242888"/>
            </a:xfrm>
            <a:custGeom>
              <a:avLst/>
              <a:gdLst>
                <a:gd name="T0" fmla="*/ 69 w 69"/>
                <a:gd name="T1" fmla="*/ 153 h 153"/>
                <a:gd name="T2" fmla="*/ 0 w 69"/>
                <a:gd name="T3" fmla="*/ 153 h 153"/>
                <a:gd name="T4" fmla="*/ 0 w 69"/>
                <a:gd name="T5" fmla="*/ 0 h 153"/>
                <a:gd name="T6" fmla="*/ 43 w 69"/>
                <a:gd name="T7" fmla="*/ 0 h 153"/>
                <a:gd name="T8" fmla="*/ 69 w 69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153">
                  <a:moveTo>
                    <a:pt x="69" y="153"/>
                  </a:moveTo>
                  <a:lnTo>
                    <a:pt x="0" y="153"/>
                  </a:lnTo>
                  <a:lnTo>
                    <a:pt x="0" y="0"/>
                  </a:lnTo>
                  <a:lnTo>
                    <a:pt x="43" y="0"/>
                  </a:lnTo>
                  <a:lnTo>
                    <a:pt x="69" y="153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7" name="Rectangle 472">
              <a:extLst>
                <a:ext uri="{FF2B5EF4-FFF2-40B4-BE49-F238E27FC236}">
                  <a16:creationId xmlns:a16="http://schemas.microsoft.com/office/drawing/2014/main" id="{41A69937-AACC-4AB2-B48C-935BE7647B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65238" y="5759451"/>
              <a:ext cx="339725" cy="192088"/>
            </a:xfrm>
            <a:prstGeom prst="rect">
              <a:avLst/>
            </a:prstGeom>
            <a:solidFill>
              <a:srgbClr val="6F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8" name="Freeform 473">
              <a:extLst>
                <a:ext uri="{FF2B5EF4-FFF2-40B4-BE49-F238E27FC236}">
                  <a16:creationId xmlns:a16="http://schemas.microsoft.com/office/drawing/2014/main" id="{08EAD96A-4E5A-4E66-BBFB-CFA5D2ED95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5238" y="5759451"/>
              <a:ext cx="339725" cy="192088"/>
            </a:xfrm>
            <a:custGeom>
              <a:avLst/>
              <a:gdLst>
                <a:gd name="T0" fmla="*/ 214 w 214"/>
                <a:gd name="T1" fmla="*/ 121 h 121"/>
                <a:gd name="T2" fmla="*/ 0 w 214"/>
                <a:gd name="T3" fmla="*/ 121 h 121"/>
                <a:gd name="T4" fmla="*/ 214 w 214"/>
                <a:gd name="T5" fmla="*/ 0 h 121"/>
                <a:gd name="T6" fmla="*/ 214 w 214"/>
                <a:gd name="T7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4" h="121">
                  <a:moveTo>
                    <a:pt x="214" y="121"/>
                  </a:moveTo>
                  <a:lnTo>
                    <a:pt x="0" y="121"/>
                  </a:lnTo>
                  <a:lnTo>
                    <a:pt x="214" y="0"/>
                  </a:lnTo>
                  <a:lnTo>
                    <a:pt x="214" y="121"/>
                  </a:lnTo>
                  <a:close/>
                </a:path>
              </a:pathLst>
            </a:cu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9" name="Rectangle 474">
              <a:extLst>
                <a:ext uri="{FF2B5EF4-FFF2-40B4-BE49-F238E27FC236}">
                  <a16:creationId xmlns:a16="http://schemas.microsoft.com/office/drawing/2014/main" id="{79D3162C-3840-4C08-ACA6-66AB6F312F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6401" y="5759451"/>
              <a:ext cx="171450" cy="158750"/>
            </a:xfrm>
            <a:prstGeom prst="rect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0" name="Rectangle 475">
              <a:extLst>
                <a:ext uri="{FF2B5EF4-FFF2-40B4-BE49-F238E27FC236}">
                  <a16:creationId xmlns:a16="http://schemas.microsoft.com/office/drawing/2014/main" id="{DB0DB21F-F201-4D8F-B688-576F564AA3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6401" y="5951538"/>
              <a:ext cx="171450" cy="147638"/>
            </a:xfrm>
            <a:prstGeom prst="rect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1" name="Freeform 476">
              <a:extLst>
                <a:ext uri="{FF2B5EF4-FFF2-40B4-BE49-F238E27FC236}">
                  <a16:creationId xmlns:a16="http://schemas.microsoft.com/office/drawing/2014/main" id="{7E60C3EF-FE96-4471-BA33-4AB0B2DA7E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4913" y="5926138"/>
              <a:ext cx="388938" cy="85725"/>
            </a:xfrm>
            <a:custGeom>
              <a:avLst/>
              <a:gdLst>
                <a:gd name="T0" fmla="*/ 103 w 103"/>
                <a:gd name="T1" fmla="*/ 23 h 23"/>
                <a:gd name="T2" fmla="*/ 79 w 103"/>
                <a:gd name="T3" fmla="*/ 5 h 23"/>
                <a:gd name="T4" fmla="*/ 60 w 103"/>
                <a:gd name="T5" fmla="*/ 11 h 23"/>
                <a:gd name="T6" fmla="*/ 51 w 103"/>
                <a:gd name="T7" fmla="*/ 5 h 23"/>
                <a:gd name="T8" fmla="*/ 43 w 103"/>
                <a:gd name="T9" fmla="*/ 11 h 23"/>
                <a:gd name="T10" fmla="*/ 28 w 103"/>
                <a:gd name="T11" fmla="*/ 0 h 23"/>
                <a:gd name="T12" fmla="*/ 12 w 103"/>
                <a:gd name="T13" fmla="*/ 14 h 23"/>
                <a:gd name="T14" fmla="*/ 8 w 103"/>
                <a:gd name="T15" fmla="*/ 12 h 23"/>
                <a:gd name="T16" fmla="*/ 0 w 103"/>
                <a:gd name="T17" fmla="*/ 23 h 23"/>
                <a:gd name="T18" fmla="*/ 103 w 103"/>
                <a:gd name="T1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3" h="23">
                  <a:moveTo>
                    <a:pt x="103" y="23"/>
                  </a:moveTo>
                  <a:cubicBezTo>
                    <a:pt x="103" y="13"/>
                    <a:pt x="92" y="5"/>
                    <a:pt x="79" y="5"/>
                  </a:cubicBezTo>
                  <a:cubicBezTo>
                    <a:pt x="71" y="5"/>
                    <a:pt x="65" y="8"/>
                    <a:pt x="60" y="11"/>
                  </a:cubicBezTo>
                  <a:cubicBezTo>
                    <a:pt x="58" y="8"/>
                    <a:pt x="55" y="5"/>
                    <a:pt x="51" y="5"/>
                  </a:cubicBezTo>
                  <a:cubicBezTo>
                    <a:pt x="48" y="5"/>
                    <a:pt x="45" y="7"/>
                    <a:pt x="43" y="11"/>
                  </a:cubicBezTo>
                  <a:cubicBezTo>
                    <a:pt x="40" y="5"/>
                    <a:pt x="34" y="0"/>
                    <a:pt x="28" y="0"/>
                  </a:cubicBezTo>
                  <a:cubicBezTo>
                    <a:pt x="20" y="0"/>
                    <a:pt x="13" y="6"/>
                    <a:pt x="12" y="14"/>
                  </a:cubicBezTo>
                  <a:cubicBezTo>
                    <a:pt x="10" y="13"/>
                    <a:pt x="9" y="12"/>
                    <a:pt x="8" y="12"/>
                  </a:cubicBezTo>
                  <a:cubicBezTo>
                    <a:pt x="3" y="12"/>
                    <a:pt x="0" y="17"/>
                    <a:pt x="0" y="23"/>
                  </a:cubicBezTo>
                  <a:lnTo>
                    <a:pt x="103" y="23"/>
                  </a:lnTo>
                  <a:close/>
                </a:path>
              </a:pathLst>
            </a:custGeom>
            <a:solidFill>
              <a:srgbClr val="0D96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2" name="Rectangle 477">
              <a:extLst>
                <a:ext uri="{FF2B5EF4-FFF2-40B4-BE49-F238E27FC236}">
                  <a16:creationId xmlns:a16="http://schemas.microsoft.com/office/drawing/2014/main" id="{5384473D-6D85-46D3-8AB2-89A3A789F8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4913" y="6011863"/>
              <a:ext cx="388938" cy="87313"/>
            </a:xfrm>
            <a:prstGeom prst="rect">
              <a:avLst/>
            </a:prstGeom>
            <a:solidFill>
              <a:srgbClr val="9C6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3" name="Rectangle 478">
              <a:extLst>
                <a:ext uri="{FF2B5EF4-FFF2-40B4-BE49-F238E27FC236}">
                  <a16:creationId xmlns:a16="http://schemas.microsoft.com/office/drawing/2014/main" id="{B0A552A8-E2B0-472D-836D-E9CEE0FFEC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4913" y="6011863"/>
              <a:ext cx="388938" cy="26988"/>
            </a:xfrm>
            <a:prstGeom prst="rect">
              <a:avLst/>
            </a:prstGeom>
            <a:solidFill>
              <a:srgbClr val="AF76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94" name="Slide Number Placeholder 93">
            <a:extLst>
              <a:ext uri="{FF2B5EF4-FFF2-40B4-BE49-F238E27FC236}">
                <a16:creationId xmlns:a16="http://schemas.microsoft.com/office/drawing/2014/main" id="{ECB8D3FA-85B0-4687-9A60-D54F9B1AF7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3" name="Picture 2" descr="A red and blue text on a black background&#10;&#10;Description automatically generated">
            <a:extLst>
              <a:ext uri="{FF2B5EF4-FFF2-40B4-BE49-F238E27FC236}">
                <a16:creationId xmlns:a16="http://schemas.microsoft.com/office/drawing/2014/main" id="{557F4DFB-AA8B-7208-D423-0DF2800BE0B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6841" y="-532535"/>
            <a:ext cx="1806735" cy="1806735"/>
          </a:xfrm>
          <a:prstGeom prst="rect">
            <a:avLst/>
          </a:prstGeom>
        </p:spPr>
      </p:pic>
      <p:pic>
        <p:nvPicPr>
          <p:cNvPr id="6" name="Picture 5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4C98512E-B76C-AAC0-813D-EBAF42C0CD1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1657" y="691085"/>
            <a:ext cx="5221765" cy="5221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4508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rastructure As Code (</a:t>
            </a:r>
            <a:r>
              <a:rPr lang="en-US" dirty="0" err="1"/>
              <a:t>IaC</a:t>
            </a:r>
            <a:r>
              <a:rPr lang="en-US" dirty="0"/>
              <a:t>) </a:t>
            </a:r>
            <a:r>
              <a:rPr lang="en-US" b="1" dirty="0"/>
              <a:t>via Pipelin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Who can live with it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4497" y="2147455"/>
            <a:ext cx="1963754" cy="1963754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1F45828B-8F5C-FF73-3C4B-A998B8DACF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8075" y="2460607"/>
            <a:ext cx="1064041" cy="943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53478140-8BE6-5525-DF07-9358650A627B}"/>
              </a:ext>
            </a:extLst>
          </p:cNvPr>
          <p:cNvSpPr/>
          <p:nvPr/>
        </p:nvSpPr>
        <p:spPr>
          <a:xfrm>
            <a:off x="4946998" y="2418433"/>
            <a:ext cx="4087908" cy="3937917"/>
          </a:xfrm>
          <a:custGeom>
            <a:avLst/>
            <a:gdLst>
              <a:gd name="connsiteX0" fmla="*/ 0 w 4087908"/>
              <a:gd name="connsiteY0" fmla="*/ 656333 h 3937917"/>
              <a:gd name="connsiteX1" fmla="*/ 656333 w 4087908"/>
              <a:gd name="connsiteY1" fmla="*/ 0 h 3937917"/>
              <a:gd name="connsiteX2" fmla="*/ 1266886 w 4087908"/>
              <a:gd name="connsiteY2" fmla="*/ 0 h 3937917"/>
              <a:gd name="connsiteX3" fmla="*/ 1794182 w 4087908"/>
              <a:gd name="connsiteY3" fmla="*/ 0 h 3937917"/>
              <a:gd name="connsiteX4" fmla="*/ 2293726 w 4087908"/>
              <a:gd name="connsiteY4" fmla="*/ 0 h 3937917"/>
              <a:gd name="connsiteX5" fmla="*/ 2876527 w 4087908"/>
              <a:gd name="connsiteY5" fmla="*/ 0 h 3937917"/>
              <a:gd name="connsiteX6" fmla="*/ 3431575 w 4087908"/>
              <a:gd name="connsiteY6" fmla="*/ 0 h 3937917"/>
              <a:gd name="connsiteX7" fmla="*/ 4087908 w 4087908"/>
              <a:gd name="connsiteY7" fmla="*/ 656333 h 3937917"/>
              <a:gd name="connsiteX8" fmla="*/ 4087908 w 4087908"/>
              <a:gd name="connsiteY8" fmla="*/ 1181383 h 3937917"/>
              <a:gd name="connsiteX9" fmla="*/ 4087908 w 4087908"/>
              <a:gd name="connsiteY9" fmla="*/ 1627676 h 3937917"/>
              <a:gd name="connsiteX10" fmla="*/ 4087908 w 4087908"/>
              <a:gd name="connsiteY10" fmla="*/ 2152726 h 3937917"/>
              <a:gd name="connsiteX11" fmla="*/ 4087908 w 4087908"/>
              <a:gd name="connsiteY11" fmla="*/ 2677776 h 3937917"/>
              <a:gd name="connsiteX12" fmla="*/ 4087908 w 4087908"/>
              <a:gd name="connsiteY12" fmla="*/ 3281584 h 3937917"/>
              <a:gd name="connsiteX13" fmla="*/ 3431575 w 4087908"/>
              <a:gd name="connsiteY13" fmla="*/ 3937917 h 3937917"/>
              <a:gd name="connsiteX14" fmla="*/ 2876527 w 4087908"/>
              <a:gd name="connsiteY14" fmla="*/ 3937917 h 3937917"/>
              <a:gd name="connsiteX15" fmla="*/ 2321478 w 4087908"/>
              <a:gd name="connsiteY15" fmla="*/ 3937917 h 3937917"/>
              <a:gd name="connsiteX16" fmla="*/ 1710925 w 4087908"/>
              <a:gd name="connsiteY16" fmla="*/ 3937917 h 3937917"/>
              <a:gd name="connsiteX17" fmla="*/ 1155877 w 4087908"/>
              <a:gd name="connsiteY17" fmla="*/ 3937917 h 3937917"/>
              <a:gd name="connsiteX18" fmla="*/ 656333 w 4087908"/>
              <a:gd name="connsiteY18" fmla="*/ 3937917 h 3937917"/>
              <a:gd name="connsiteX19" fmla="*/ 0 w 4087908"/>
              <a:gd name="connsiteY19" fmla="*/ 3281584 h 3937917"/>
              <a:gd name="connsiteX20" fmla="*/ 0 w 4087908"/>
              <a:gd name="connsiteY20" fmla="*/ 2730281 h 3937917"/>
              <a:gd name="connsiteX21" fmla="*/ 0 w 4087908"/>
              <a:gd name="connsiteY21" fmla="*/ 2257736 h 3937917"/>
              <a:gd name="connsiteX22" fmla="*/ 0 w 4087908"/>
              <a:gd name="connsiteY22" fmla="*/ 1732686 h 3937917"/>
              <a:gd name="connsiteX23" fmla="*/ 0 w 4087908"/>
              <a:gd name="connsiteY23" fmla="*/ 1286393 h 3937917"/>
              <a:gd name="connsiteX24" fmla="*/ 0 w 4087908"/>
              <a:gd name="connsiteY24" fmla="*/ 656333 h 3937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087908" h="3937917" extrusionOk="0">
                <a:moveTo>
                  <a:pt x="0" y="656333"/>
                </a:moveTo>
                <a:cubicBezTo>
                  <a:pt x="-53664" y="260749"/>
                  <a:pt x="200201" y="35148"/>
                  <a:pt x="656333" y="0"/>
                </a:cubicBezTo>
                <a:cubicBezTo>
                  <a:pt x="937536" y="-70459"/>
                  <a:pt x="1083790" y="40875"/>
                  <a:pt x="1266886" y="0"/>
                </a:cubicBezTo>
                <a:cubicBezTo>
                  <a:pt x="1449982" y="-40875"/>
                  <a:pt x="1579657" y="2726"/>
                  <a:pt x="1794182" y="0"/>
                </a:cubicBezTo>
                <a:cubicBezTo>
                  <a:pt x="2008707" y="-2726"/>
                  <a:pt x="2093409" y="41390"/>
                  <a:pt x="2293726" y="0"/>
                </a:cubicBezTo>
                <a:cubicBezTo>
                  <a:pt x="2494043" y="-41390"/>
                  <a:pt x="2732535" y="22105"/>
                  <a:pt x="2876527" y="0"/>
                </a:cubicBezTo>
                <a:cubicBezTo>
                  <a:pt x="3020519" y="-22105"/>
                  <a:pt x="3201995" y="63168"/>
                  <a:pt x="3431575" y="0"/>
                </a:cubicBezTo>
                <a:cubicBezTo>
                  <a:pt x="3812495" y="-30004"/>
                  <a:pt x="4073865" y="306191"/>
                  <a:pt x="4087908" y="656333"/>
                </a:cubicBezTo>
                <a:cubicBezTo>
                  <a:pt x="4107643" y="782602"/>
                  <a:pt x="4065771" y="1058455"/>
                  <a:pt x="4087908" y="1181383"/>
                </a:cubicBezTo>
                <a:cubicBezTo>
                  <a:pt x="4110045" y="1304311"/>
                  <a:pt x="4041839" y="1527589"/>
                  <a:pt x="4087908" y="1627676"/>
                </a:cubicBezTo>
                <a:cubicBezTo>
                  <a:pt x="4133977" y="1727763"/>
                  <a:pt x="4046860" y="1938778"/>
                  <a:pt x="4087908" y="2152726"/>
                </a:cubicBezTo>
                <a:cubicBezTo>
                  <a:pt x="4128956" y="2366674"/>
                  <a:pt x="4078306" y="2503957"/>
                  <a:pt x="4087908" y="2677776"/>
                </a:cubicBezTo>
                <a:cubicBezTo>
                  <a:pt x="4097510" y="2851595"/>
                  <a:pt x="4066407" y="3058927"/>
                  <a:pt x="4087908" y="3281584"/>
                </a:cubicBezTo>
                <a:cubicBezTo>
                  <a:pt x="4130198" y="3695869"/>
                  <a:pt x="3867677" y="3873460"/>
                  <a:pt x="3431575" y="3937917"/>
                </a:cubicBezTo>
                <a:cubicBezTo>
                  <a:pt x="3176552" y="3991215"/>
                  <a:pt x="3141168" y="3882118"/>
                  <a:pt x="2876527" y="3937917"/>
                </a:cubicBezTo>
                <a:cubicBezTo>
                  <a:pt x="2611886" y="3993716"/>
                  <a:pt x="2573168" y="3928371"/>
                  <a:pt x="2321478" y="3937917"/>
                </a:cubicBezTo>
                <a:cubicBezTo>
                  <a:pt x="2069788" y="3947463"/>
                  <a:pt x="2012388" y="3903288"/>
                  <a:pt x="1710925" y="3937917"/>
                </a:cubicBezTo>
                <a:cubicBezTo>
                  <a:pt x="1409462" y="3972546"/>
                  <a:pt x="1297128" y="3890753"/>
                  <a:pt x="1155877" y="3937917"/>
                </a:cubicBezTo>
                <a:cubicBezTo>
                  <a:pt x="1014626" y="3985081"/>
                  <a:pt x="795838" y="3918343"/>
                  <a:pt x="656333" y="3937917"/>
                </a:cubicBezTo>
                <a:cubicBezTo>
                  <a:pt x="225967" y="3940712"/>
                  <a:pt x="5217" y="3634662"/>
                  <a:pt x="0" y="3281584"/>
                </a:cubicBezTo>
                <a:cubicBezTo>
                  <a:pt x="-12738" y="3097389"/>
                  <a:pt x="42515" y="2945126"/>
                  <a:pt x="0" y="2730281"/>
                </a:cubicBezTo>
                <a:cubicBezTo>
                  <a:pt x="-42515" y="2515436"/>
                  <a:pt x="9345" y="2394308"/>
                  <a:pt x="0" y="2257736"/>
                </a:cubicBezTo>
                <a:cubicBezTo>
                  <a:pt x="-9345" y="2121164"/>
                  <a:pt x="34988" y="1924783"/>
                  <a:pt x="0" y="1732686"/>
                </a:cubicBezTo>
                <a:cubicBezTo>
                  <a:pt x="-34988" y="1540589"/>
                  <a:pt x="30576" y="1504144"/>
                  <a:pt x="0" y="1286393"/>
                </a:cubicBezTo>
                <a:cubicBezTo>
                  <a:pt x="-30576" y="1068642"/>
                  <a:pt x="51839" y="829161"/>
                  <a:pt x="0" y="656333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B807D54-217A-EB96-4306-79BC832CA630}"/>
              </a:ext>
            </a:extLst>
          </p:cNvPr>
          <p:cNvGrpSpPr/>
          <p:nvPr/>
        </p:nvGrpSpPr>
        <p:grpSpPr>
          <a:xfrm>
            <a:off x="7215185" y="2475653"/>
            <a:ext cx="1158800" cy="1098301"/>
            <a:chOff x="3591201" y="2800773"/>
            <a:chExt cx="887513" cy="946980"/>
          </a:xfrm>
        </p:grpSpPr>
        <p:pic>
          <p:nvPicPr>
            <p:cNvPr id="8" name="Picture 2">
              <a:extLst>
                <a:ext uri="{FF2B5EF4-FFF2-40B4-BE49-F238E27FC236}">
                  <a16:creationId xmlns:a16="http://schemas.microsoft.com/office/drawing/2014/main" id="{A94EB215-3E96-1CF3-633E-BA52ED360D1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5289" y="280077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2">
              <a:extLst>
                <a:ext uri="{FF2B5EF4-FFF2-40B4-BE49-F238E27FC236}">
                  <a16:creationId xmlns:a16="http://schemas.microsoft.com/office/drawing/2014/main" id="{77503CE5-0331-8B70-1B9C-DCDB256451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2438" y="2864688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2">
              <a:extLst>
                <a:ext uri="{FF2B5EF4-FFF2-40B4-BE49-F238E27FC236}">
                  <a16:creationId xmlns:a16="http://schemas.microsoft.com/office/drawing/2014/main" id="{B6293F53-00FC-1E2A-243F-3F242545683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1201" y="292860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562D573-A12D-A313-D630-7C1973588AA2}"/>
              </a:ext>
            </a:extLst>
          </p:cNvPr>
          <p:cNvGrpSpPr/>
          <p:nvPr/>
        </p:nvGrpSpPr>
        <p:grpSpPr>
          <a:xfrm>
            <a:off x="1883950" y="2364677"/>
            <a:ext cx="1291179" cy="1287835"/>
            <a:chOff x="3409768" y="2600757"/>
            <a:chExt cx="1571305" cy="1560279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AE3BC9F0-D6D5-334D-C2C1-C7A80617CD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16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FD495CD4-4BC7-9EFE-1699-A28CC014DAF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F47EE736-55EF-8CF0-4A6E-92C43B6A57DB}"/>
              </a:ext>
            </a:extLst>
          </p:cNvPr>
          <p:cNvSpPr/>
          <p:nvPr/>
        </p:nvSpPr>
        <p:spPr>
          <a:xfrm>
            <a:off x="576146" y="4581583"/>
            <a:ext cx="3907982" cy="1774766"/>
          </a:xfrm>
          <a:custGeom>
            <a:avLst/>
            <a:gdLst>
              <a:gd name="connsiteX0" fmla="*/ 0 w 3907982"/>
              <a:gd name="connsiteY0" fmla="*/ 295800 h 1774766"/>
              <a:gd name="connsiteX1" fmla="*/ 295800 w 3907982"/>
              <a:gd name="connsiteY1" fmla="*/ 0 h 1774766"/>
              <a:gd name="connsiteX2" fmla="*/ 881694 w 3907982"/>
              <a:gd name="connsiteY2" fmla="*/ 0 h 1774766"/>
              <a:gd name="connsiteX3" fmla="*/ 1334933 w 3907982"/>
              <a:gd name="connsiteY3" fmla="*/ 0 h 1774766"/>
              <a:gd name="connsiteX4" fmla="*/ 1887663 w 3907982"/>
              <a:gd name="connsiteY4" fmla="*/ 0 h 1774766"/>
              <a:gd name="connsiteX5" fmla="*/ 2374066 w 3907982"/>
              <a:gd name="connsiteY5" fmla="*/ 0 h 1774766"/>
              <a:gd name="connsiteX6" fmla="*/ 2959960 w 3907982"/>
              <a:gd name="connsiteY6" fmla="*/ 0 h 1774766"/>
              <a:gd name="connsiteX7" fmla="*/ 3612182 w 3907982"/>
              <a:gd name="connsiteY7" fmla="*/ 0 h 1774766"/>
              <a:gd name="connsiteX8" fmla="*/ 3907982 w 3907982"/>
              <a:gd name="connsiteY8" fmla="*/ 295800 h 1774766"/>
              <a:gd name="connsiteX9" fmla="*/ 3907982 w 3907982"/>
              <a:gd name="connsiteY9" fmla="*/ 887383 h 1774766"/>
              <a:gd name="connsiteX10" fmla="*/ 3907982 w 3907982"/>
              <a:gd name="connsiteY10" fmla="*/ 1478966 h 1774766"/>
              <a:gd name="connsiteX11" fmla="*/ 3612182 w 3907982"/>
              <a:gd name="connsiteY11" fmla="*/ 1774766 h 1774766"/>
              <a:gd name="connsiteX12" fmla="*/ 2993124 w 3907982"/>
              <a:gd name="connsiteY12" fmla="*/ 1774766 h 1774766"/>
              <a:gd name="connsiteX13" fmla="*/ 2506721 w 3907982"/>
              <a:gd name="connsiteY13" fmla="*/ 1774766 h 1774766"/>
              <a:gd name="connsiteX14" fmla="*/ 2053482 w 3907982"/>
              <a:gd name="connsiteY14" fmla="*/ 1774766 h 1774766"/>
              <a:gd name="connsiteX15" fmla="*/ 1567080 w 3907982"/>
              <a:gd name="connsiteY15" fmla="*/ 1774766 h 1774766"/>
              <a:gd name="connsiteX16" fmla="*/ 1047513 w 3907982"/>
              <a:gd name="connsiteY16" fmla="*/ 1774766 h 1774766"/>
              <a:gd name="connsiteX17" fmla="*/ 295800 w 3907982"/>
              <a:gd name="connsiteY17" fmla="*/ 1774766 h 1774766"/>
              <a:gd name="connsiteX18" fmla="*/ 0 w 3907982"/>
              <a:gd name="connsiteY18" fmla="*/ 1478966 h 1774766"/>
              <a:gd name="connsiteX19" fmla="*/ 0 w 3907982"/>
              <a:gd name="connsiteY19" fmla="*/ 863720 h 1774766"/>
              <a:gd name="connsiteX20" fmla="*/ 0 w 3907982"/>
              <a:gd name="connsiteY20" fmla="*/ 295800 h 1774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907982" h="1774766" fill="none" extrusionOk="0">
                <a:moveTo>
                  <a:pt x="0" y="295800"/>
                </a:moveTo>
                <a:cubicBezTo>
                  <a:pt x="20487" y="172998"/>
                  <a:pt x="121258" y="5894"/>
                  <a:pt x="295800" y="0"/>
                </a:cubicBezTo>
                <a:cubicBezTo>
                  <a:pt x="532295" y="-1391"/>
                  <a:pt x="598923" y="5736"/>
                  <a:pt x="881694" y="0"/>
                </a:cubicBezTo>
                <a:cubicBezTo>
                  <a:pt x="1164465" y="-5736"/>
                  <a:pt x="1201321" y="29972"/>
                  <a:pt x="1334933" y="0"/>
                </a:cubicBezTo>
                <a:cubicBezTo>
                  <a:pt x="1468545" y="-29972"/>
                  <a:pt x="1765965" y="35675"/>
                  <a:pt x="1887663" y="0"/>
                </a:cubicBezTo>
                <a:cubicBezTo>
                  <a:pt x="2009361" y="-35675"/>
                  <a:pt x="2224980" y="32410"/>
                  <a:pt x="2374066" y="0"/>
                </a:cubicBezTo>
                <a:cubicBezTo>
                  <a:pt x="2523152" y="-32410"/>
                  <a:pt x="2774968" y="41765"/>
                  <a:pt x="2959960" y="0"/>
                </a:cubicBezTo>
                <a:cubicBezTo>
                  <a:pt x="3144952" y="-41765"/>
                  <a:pt x="3294047" y="45903"/>
                  <a:pt x="3612182" y="0"/>
                </a:cubicBezTo>
                <a:cubicBezTo>
                  <a:pt x="3764720" y="33757"/>
                  <a:pt x="3893462" y="86707"/>
                  <a:pt x="3907982" y="295800"/>
                </a:cubicBezTo>
                <a:cubicBezTo>
                  <a:pt x="3940689" y="479855"/>
                  <a:pt x="3872225" y="708667"/>
                  <a:pt x="3907982" y="887383"/>
                </a:cubicBezTo>
                <a:cubicBezTo>
                  <a:pt x="3943739" y="1066099"/>
                  <a:pt x="3907402" y="1189439"/>
                  <a:pt x="3907982" y="1478966"/>
                </a:cubicBezTo>
                <a:cubicBezTo>
                  <a:pt x="3881345" y="1657268"/>
                  <a:pt x="3792040" y="1819451"/>
                  <a:pt x="3612182" y="1774766"/>
                </a:cubicBezTo>
                <a:cubicBezTo>
                  <a:pt x="3339602" y="1816939"/>
                  <a:pt x="3295224" y="1701940"/>
                  <a:pt x="2993124" y="1774766"/>
                </a:cubicBezTo>
                <a:cubicBezTo>
                  <a:pt x="2691024" y="1847592"/>
                  <a:pt x="2636376" y="1730920"/>
                  <a:pt x="2506721" y="1774766"/>
                </a:cubicBezTo>
                <a:cubicBezTo>
                  <a:pt x="2377066" y="1818612"/>
                  <a:pt x="2211001" y="1724309"/>
                  <a:pt x="2053482" y="1774766"/>
                </a:cubicBezTo>
                <a:cubicBezTo>
                  <a:pt x="1895963" y="1825223"/>
                  <a:pt x="1802648" y="1747873"/>
                  <a:pt x="1567080" y="1774766"/>
                </a:cubicBezTo>
                <a:cubicBezTo>
                  <a:pt x="1331512" y="1801659"/>
                  <a:pt x="1233039" y="1714598"/>
                  <a:pt x="1047513" y="1774766"/>
                </a:cubicBezTo>
                <a:cubicBezTo>
                  <a:pt x="861987" y="1834934"/>
                  <a:pt x="468022" y="1688758"/>
                  <a:pt x="295800" y="1774766"/>
                </a:cubicBezTo>
                <a:cubicBezTo>
                  <a:pt x="127600" y="1779565"/>
                  <a:pt x="45678" y="1652584"/>
                  <a:pt x="0" y="1478966"/>
                </a:cubicBezTo>
                <a:cubicBezTo>
                  <a:pt x="-49781" y="1330297"/>
                  <a:pt x="18913" y="1077115"/>
                  <a:pt x="0" y="863720"/>
                </a:cubicBezTo>
                <a:cubicBezTo>
                  <a:pt x="-18913" y="650325"/>
                  <a:pt x="25371" y="523751"/>
                  <a:pt x="0" y="295800"/>
                </a:cubicBezTo>
                <a:close/>
              </a:path>
              <a:path w="3907982" h="1774766" stroke="0" extrusionOk="0">
                <a:moveTo>
                  <a:pt x="0" y="295800"/>
                </a:moveTo>
                <a:cubicBezTo>
                  <a:pt x="-20882" y="119554"/>
                  <a:pt x="106135" y="9870"/>
                  <a:pt x="295800" y="0"/>
                </a:cubicBezTo>
                <a:cubicBezTo>
                  <a:pt x="453860" y="-12989"/>
                  <a:pt x="734573" y="48685"/>
                  <a:pt x="914858" y="0"/>
                </a:cubicBezTo>
                <a:cubicBezTo>
                  <a:pt x="1095143" y="-48685"/>
                  <a:pt x="1269038" y="4660"/>
                  <a:pt x="1434424" y="0"/>
                </a:cubicBezTo>
                <a:cubicBezTo>
                  <a:pt x="1599810" y="-4660"/>
                  <a:pt x="1715140" y="34333"/>
                  <a:pt x="1920827" y="0"/>
                </a:cubicBezTo>
                <a:cubicBezTo>
                  <a:pt x="2126514" y="-34333"/>
                  <a:pt x="2358539" y="37821"/>
                  <a:pt x="2506721" y="0"/>
                </a:cubicBezTo>
                <a:cubicBezTo>
                  <a:pt x="2654903" y="-37821"/>
                  <a:pt x="2906566" y="42803"/>
                  <a:pt x="3026288" y="0"/>
                </a:cubicBezTo>
                <a:cubicBezTo>
                  <a:pt x="3146010" y="-42803"/>
                  <a:pt x="3411886" y="2924"/>
                  <a:pt x="3612182" y="0"/>
                </a:cubicBezTo>
                <a:cubicBezTo>
                  <a:pt x="3772467" y="-29383"/>
                  <a:pt x="3899951" y="143594"/>
                  <a:pt x="3907982" y="295800"/>
                </a:cubicBezTo>
                <a:cubicBezTo>
                  <a:pt x="3947695" y="575082"/>
                  <a:pt x="3848787" y="609114"/>
                  <a:pt x="3907982" y="863720"/>
                </a:cubicBezTo>
                <a:cubicBezTo>
                  <a:pt x="3967177" y="1118326"/>
                  <a:pt x="3877306" y="1196617"/>
                  <a:pt x="3907982" y="1478966"/>
                </a:cubicBezTo>
                <a:cubicBezTo>
                  <a:pt x="3935197" y="1682845"/>
                  <a:pt x="3775937" y="1778791"/>
                  <a:pt x="3612182" y="1774766"/>
                </a:cubicBezTo>
                <a:cubicBezTo>
                  <a:pt x="3496960" y="1826369"/>
                  <a:pt x="3311138" y="1742211"/>
                  <a:pt x="3158943" y="1774766"/>
                </a:cubicBezTo>
                <a:cubicBezTo>
                  <a:pt x="3006748" y="1807321"/>
                  <a:pt x="2726248" y="1726081"/>
                  <a:pt x="2539885" y="1774766"/>
                </a:cubicBezTo>
                <a:cubicBezTo>
                  <a:pt x="2353522" y="1823451"/>
                  <a:pt x="2273193" y="1774461"/>
                  <a:pt x="2053482" y="1774766"/>
                </a:cubicBezTo>
                <a:cubicBezTo>
                  <a:pt x="1833771" y="1775071"/>
                  <a:pt x="1693217" y="1741945"/>
                  <a:pt x="1500752" y="1774766"/>
                </a:cubicBezTo>
                <a:cubicBezTo>
                  <a:pt x="1308287" y="1807587"/>
                  <a:pt x="1064617" y="1721145"/>
                  <a:pt x="881694" y="1774766"/>
                </a:cubicBezTo>
                <a:cubicBezTo>
                  <a:pt x="698771" y="1828387"/>
                  <a:pt x="505823" y="1720333"/>
                  <a:pt x="295800" y="1774766"/>
                </a:cubicBezTo>
                <a:cubicBezTo>
                  <a:pt x="121430" y="1794441"/>
                  <a:pt x="36742" y="1669634"/>
                  <a:pt x="0" y="1478966"/>
                </a:cubicBezTo>
                <a:cubicBezTo>
                  <a:pt x="-54989" y="1234490"/>
                  <a:pt x="10688" y="1088378"/>
                  <a:pt x="0" y="911046"/>
                </a:cubicBezTo>
                <a:cubicBezTo>
                  <a:pt x="-10688" y="733714"/>
                  <a:pt x="25512" y="541996"/>
                  <a:pt x="0" y="29580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lumMod val="67000"/>
                  <a:alpha val="0"/>
                </a:schemeClr>
              </a:gs>
              <a:gs pos="38000">
                <a:schemeClr val="accent2">
                  <a:lumMod val="97000"/>
                  <a:lumOff val="3000"/>
                </a:schemeClr>
              </a:gs>
              <a:gs pos="55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15511DB5-BA82-0B4D-6C1F-BD6988456645}"/>
              </a:ext>
            </a:extLst>
          </p:cNvPr>
          <p:cNvSpPr/>
          <p:nvPr/>
        </p:nvSpPr>
        <p:spPr>
          <a:xfrm>
            <a:off x="576146" y="3630212"/>
            <a:ext cx="3907982" cy="1948810"/>
          </a:xfrm>
          <a:custGeom>
            <a:avLst/>
            <a:gdLst>
              <a:gd name="connsiteX0" fmla="*/ 0 w 3907982"/>
              <a:gd name="connsiteY0" fmla="*/ 324808 h 1948810"/>
              <a:gd name="connsiteX1" fmla="*/ 324808 w 3907982"/>
              <a:gd name="connsiteY1" fmla="*/ 0 h 1948810"/>
              <a:gd name="connsiteX2" fmla="*/ 867869 w 3907982"/>
              <a:gd name="connsiteY2" fmla="*/ 0 h 1948810"/>
              <a:gd name="connsiteX3" fmla="*/ 1345763 w 3907982"/>
              <a:gd name="connsiteY3" fmla="*/ 0 h 1948810"/>
              <a:gd name="connsiteX4" fmla="*/ 1921407 w 3907982"/>
              <a:gd name="connsiteY4" fmla="*/ 0 h 1948810"/>
              <a:gd name="connsiteX5" fmla="*/ 2399301 w 3907982"/>
              <a:gd name="connsiteY5" fmla="*/ 0 h 1948810"/>
              <a:gd name="connsiteX6" fmla="*/ 2974946 w 3907982"/>
              <a:gd name="connsiteY6" fmla="*/ 0 h 1948810"/>
              <a:gd name="connsiteX7" fmla="*/ 3583174 w 3907982"/>
              <a:gd name="connsiteY7" fmla="*/ 0 h 1948810"/>
              <a:gd name="connsiteX8" fmla="*/ 3907982 w 3907982"/>
              <a:gd name="connsiteY8" fmla="*/ 324808 h 1948810"/>
              <a:gd name="connsiteX9" fmla="*/ 3907982 w 3907982"/>
              <a:gd name="connsiteY9" fmla="*/ 744881 h 1948810"/>
              <a:gd name="connsiteX10" fmla="*/ 3907982 w 3907982"/>
              <a:gd name="connsiteY10" fmla="*/ 1151962 h 1948810"/>
              <a:gd name="connsiteX11" fmla="*/ 3907982 w 3907982"/>
              <a:gd name="connsiteY11" fmla="*/ 1624002 h 1948810"/>
              <a:gd name="connsiteX12" fmla="*/ 3583174 w 3907982"/>
              <a:gd name="connsiteY12" fmla="*/ 1948810 h 1948810"/>
              <a:gd name="connsiteX13" fmla="*/ 3105280 w 3907982"/>
              <a:gd name="connsiteY13" fmla="*/ 1948810 h 1948810"/>
              <a:gd name="connsiteX14" fmla="*/ 2594803 w 3907982"/>
              <a:gd name="connsiteY14" fmla="*/ 1948810 h 1948810"/>
              <a:gd name="connsiteX15" fmla="*/ 2051742 w 3907982"/>
              <a:gd name="connsiteY15" fmla="*/ 1948810 h 1948810"/>
              <a:gd name="connsiteX16" fmla="*/ 1573848 w 3907982"/>
              <a:gd name="connsiteY16" fmla="*/ 1948810 h 1948810"/>
              <a:gd name="connsiteX17" fmla="*/ 965620 w 3907982"/>
              <a:gd name="connsiteY17" fmla="*/ 1948810 h 1948810"/>
              <a:gd name="connsiteX18" fmla="*/ 324808 w 3907982"/>
              <a:gd name="connsiteY18" fmla="*/ 1948810 h 1948810"/>
              <a:gd name="connsiteX19" fmla="*/ 0 w 3907982"/>
              <a:gd name="connsiteY19" fmla="*/ 1624002 h 1948810"/>
              <a:gd name="connsiteX20" fmla="*/ 0 w 3907982"/>
              <a:gd name="connsiteY20" fmla="*/ 1190937 h 1948810"/>
              <a:gd name="connsiteX21" fmla="*/ 0 w 3907982"/>
              <a:gd name="connsiteY21" fmla="*/ 744881 h 1948810"/>
              <a:gd name="connsiteX22" fmla="*/ 0 w 3907982"/>
              <a:gd name="connsiteY22" fmla="*/ 324808 h 1948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07982" h="1948810" fill="none" extrusionOk="0">
                <a:moveTo>
                  <a:pt x="0" y="324808"/>
                </a:moveTo>
                <a:cubicBezTo>
                  <a:pt x="-9814" y="144866"/>
                  <a:pt x="183880" y="33110"/>
                  <a:pt x="324808" y="0"/>
                </a:cubicBezTo>
                <a:cubicBezTo>
                  <a:pt x="511642" y="-49885"/>
                  <a:pt x="676449" y="10538"/>
                  <a:pt x="867869" y="0"/>
                </a:cubicBezTo>
                <a:cubicBezTo>
                  <a:pt x="1059289" y="-10538"/>
                  <a:pt x="1232694" y="38815"/>
                  <a:pt x="1345763" y="0"/>
                </a:cubicBezTo>
                <a:cubicBezTo>
                  <a:pt x="1458832" y="-38815"/>
                  <a:pt x="1719905" y="18510"/>
                  <a:pt x="1921407" y="0"/>
                </a:cubicBezTo>
                <a:cubicBezTo>
                  <a:pt x="2122909" y="-18510"/>
                  <a:pt x="2244503" y="13959"/>
                  <a:pt x="2399301" y="0"/>
                </a:cubicBezTo>
                <a:cubicBezTo>
                  <a:pt x="2554099" y="-13959"/>
                  <a:pt x="2739638" y="61767"/>
                  <a:pt x="2974946" y="0"/>
                </a:cubicBezTo>
                <a:cubicBezTo>
                  <a:pt x="3210254" y="-61767"/>
                  <a:pt x="3352165" y="29902"/>
                  <a:pt x="3583174" y="0"/>
                </a:cubicBezTo>
                <a:cubicBezTo>
                  <a:pt x="3767010" y="-7724"/>
                  <a:pt x="3893431" y="139843"/>
                  <a:pt x="3907982" y="324808"/>
                </a:cubicBezTo>
                <a:cubicBezTo>
                  <a:pt x="3917924" y="436572"/>
                  <a:pt x="3883703" y="595369"/>
                  <a:pt x="3907982" y="744881"/>
                </a:cubicBezTo>
                <a:cubicBezTo>
                  <a:pt x="3932261" y="894393"/>
                  <a:pt x="3894731" y="1056175"/>
                  <a:pt x="3907982" y="1151962"/>
                </a:cubicBezTo>
                <a:cubicBezTo>
                  <a:pt x="3921233" y="1247749"/>
                  <a:pt x="3884915" y="1416136"/>
                  <a:pt x="3907982" y="1624002"/>
                </a:cubicBezTo>
                <a:cubicBezTo>
                  <a:pt x="3951987" y="1791742"/>
                  <a:pt x="3755826" y="1995464"/>
                  <a:pt x="3583174" y="1948810"/>
                </a:cubicBezTo>
                <a:cubicBezTo>
                  <a:pt x="3376622" y="1978462"/>
                  <a:pt x="3333771" y="1894812"/>
                  <a:pt x="3105280" y="1948810"/>
                </a:cubicBezTo>
                <a:cubicBezTo>
                  <a:pt x="2876789" y="2002808"/>
                  <a:pt x="2821251" y="1905816"/>
                  <a:pt x="2594803" y="1948810"/>
                </a:cubicBezTo>
                <a:cubicBezTo>
                  <a:pt x="2368355" y="1991804"/>
                  <a:pt x="2240340" y="1918797"/>
                  <a:pt x="2051742" y="1948810"/>
                </a:cubicBezTo>
                <a:cubicBezTo>
                  <a:pt x="1863144" y="1978823"/>
                  <a:pt x="1807665" y="1907858"/>
                  <a:pt x="1573848" y="1948810"/>
                </a:cubicBezTo>
                <a:cubicBezTo>
                  <a:pt x="1340031" y="1989762"/>
                  <a:pt x="1221594" y="1931019"/>
                  <a:pt x="965620" y="1948810"/>
                </a:cubicBezTo>
                <a:cubicBezTo>
                  <a:pt x="709646" y="1966601"/>
                  <a:pt x="491756" y="1948759"/>
                  <a:pt x="324808" y="1948810"/>
                </a:cubicBezTo>
                <a:cubicBezTo>
                  <a:pt x="151042" y="1968543"/>
                  <a:pt x="16420" y="1810302"/>
                  <a:pt x="0" y="1624002"/>
                </a:cubicBezTo>
                <a:cubicBezTo>
                  <a:pt x="-16740" y="1503674"/>
                  <a:pt x="50220" y="1313890"/>
                  <a:pt x="0" y="1190937"/>
                </a:cubicBezTo>
                <a:cubicBezTo>
                  <a:pt x="-50220" y="1067984"/>
                  <a:pt x="52467" y="858783"/>
                  <a:pt x="0" y="744881"/>
                </a:cubicBezTo>
                <a:cubicBezTo>
                  <a:pt x="-52467" y="630979"/>
                  <a:pt x="2738" y="488934"/>
                  <a:pt x="0" y="324808"/>
                </a:cubicBezTo>
                <a:close/>
              </a:path>
              <a:path w="3907982" h="1948810" stroke="0" extrusionOk="0">
                <a:moveTo>
                  <a:pt x="0" y="324808"/>
                </a:moveTo>
                <a:cubicBezTo>
                  <a:pt x="-16458" y="135269"/>
                  <a:pt x="100042" y="17032"/>
                  <a:pt x="324808" y="0"/>
                </a:cubicBezTo>
                <a:cubicBezTo>
                  <a:pt x="584856" y="-70117"/>
                  <a:pt x="686307" y="72296"/>
                  <a:pt x="933036" y="0"/>
                </a:cubicBezTo>
                <a:cubicBezTo>
                  <a:pt x="1179765" y="-72296"/>
                  <a:pt x="1243637" y="4369"/>
                  <a:pt x="1443514" y="0"/>
                </a:cubicBezTo>
                <a:cubicBezTo>
                  <a:pt x="1643391" y="-4369"/>
                  <a:pt x="1762975" y="54884"/>
                  <a:pt x="1921407" y="0"/>
                </a:cubicBezTo>
                <a:cubicBezTo>
                  <a:pt x="2079839" y="-54884"/>
                  <a:pt x="2256426" y="16742"/>
                  <a:pt x="2497052" y="0"/>
                </a:cubicBezTo>
                <a:cubicBezTo>
                  <a:pt x="2737679" y="-16742"/>
                  <a:pt x="2804866" y="36103"/>
                  <a:pt x="3007529" y="0"/>
                </a:cubicBezTo>
                <a:cubicBezTo>
                  <a:pt x="3210192" y="-36103"/>
                  <a:pt x="3298463" y="3978"/>
                  <a:pt x="3583174" y="0"/>
                </a:cubicBezTo>
                <a:cubicBezTo>
                  <a:pt x="3756999" y="-53038"/>
                  <a:pt x="3892316" y="167193"/>
                  <a:pt x="3907982" y="324808"/>
                </a:cubicBezTo>
                <a:cubicBezTo>
                  <a:pt x="3914214" y="511100"/>
                  <a:pt x="3875098" y="647723"/>
                  <a:pt x="3907982" y="731889"/>
                </a:cubicBezTo>
                <a:cubicBezTo>
                  <a:pt x="3940866" y="816055"/>
                  <a:pt x="3881811" y="1057140"/>
                  <a:pt x="3907982" y="1164953"/>
                </a:cubicBezTo>
                <a:cubicBezTo>
                  <a:pt x="3934153" y="1272766"/>
                  <a:pt x="3895042" y="1405071"/>
                  <a:pt x="3907982" y="1624002"/>
                </a:cubicBezTo>
                <a:cubicBezTo>
                  <a:pt x="3923788" y="1787770"/>
                  <a:pt x="3773966" y="1941456"/>
                  <a:pt x="3583174" y="1948810"/>
                </a:cubicBezTo>
                <a:cubicBezTo>
                  <a:pt x="3337323" y="1967761"/>
                  <a:pt x="3255795" y="1893168"/>
                  <a:pt x="3040113" y="1948810"/>
                </a:cubicBezTo>
                <a:cubicBezTo>
                  <a:pt x="2824431" y="2004452"/>
                  <a:pt x="2690484" y="1893128"/>
                  <a:pt x="2562219" y="1948810"/>
                </a:cubicBezTo>
                <a:cubicBezTo>
                  <a:pt x="2433954" y="2004492"/>
                  <a:pt x="2238330" y="1944723"/>
                  <a:pt x="2019158" y="1948810"/>
                </a:cubicBezTo>
                <a:cubicBezTo>
                  <a:pt x="1799986" y="1952897"/>
                  <a:pt x="1605572" y="1902699"/>
                  <a:pt x="1410930" y="1948810"/>
                </a:cubicBezTo>
                <a:cubicBezTo>
                  <a:pt x="1216288" y="1994921"/>
                  <a:pt x="1011217" y="1916185"/>
                  <a:pt x="867869" y="1948810"/>
                </a:cubicBezTo>
                <a:cubicBezTo>
                  <a:pt x="724521" y="1981435"/>
                  <a:pt x="500572" y="1910232"/>
                  <a:pt x="324808" y="1948810"/>
                </a:cubicBezTo>
                <a:cubicBezTo>
                  <a:pt x="106065" y="1950430"/>
                  <a:pt x="3372" y="1797311"/>
                  <a:pt x="0" y="1624002"/>
                </a:cubicBezTo>
                <a:cubicBezTo>
                  <a:pt x="-3772" y="1437588"/>
                  <a:pt x="12891" y="1341957"/>
                  <a:pt x="0" y="1177945"/>
                </a:cubicBezTo>
                <a:cubicBezTo>
                  <a:pt x="-12891" y="1013933"/>
                  <a:pt x="47923" y="937091"/>
                  <a:pt x="0" y="770865"/>
                </a:cubicBezTo>
                <a:cubicBezTo>
                  <a:pt x="-47923" y="604639"/>
                  <a:pt x="11915" y="419747"/>
                  <a:pt x="0" y="324808"/>
                </a:cubicBezTo>
                <a:close/>
              </a:path>
            </a:pathLst>
          </a:custGeom>
          <a:gradFill flip="none" rotWithShape="1">
            <a:gsLst>
              <a:gs pos="23000">
                <a:schemeClr val="accent6">
                  <a:lumMod val="67000"/>
                  <a:alpha val="0"/>
                </a:schemeClr>
              </a:gs>
              <a:gs pos="50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  <a:alpha val="0"/>
                </a:schemeClr>
              </a:gs>
            </a:gsLst>
            <a:lin ang="16200000" scaled="1"/>
            <a:tileRect/>
          </a:gradFill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A32C0AE-654A-2838-C77B-22EEE672F3DB}"/>
              </a:ext>
            </a:extLst>
          </p:cNvPr>
          <p:cNvSpPr txBox="1"/>
          <p:nvPr/>
        </p:nvSpPr>
        <p:spPr>
          <a:xfrm>
            <a:off x="805118" y="4672699"/>
            <a:ext cx="1236877" cy="369332"/>
          </a:xfrm>
          <a:custGeom>
            <a:avLst/>
            <a:gdLst>
              <a:gd name="connsiteX0" fmla="*/ 0 w 1236877"/>
              <a:gd name="connsiteY0" fmla="*/ 0 h 369332"/>
              <a:gd name="connsiteX1" fmla="*/ 399924 w 1236877"/>
              <a:gd name="connsiteY1" fmla="*/ 0 h 369332"/>
              <a:gd name="connsiteX2" fmla="*/ 775110 w 1236877"/>
              <a:gd name="connsiteY2" fmla="*/ 0 h 369332"/>
              <a:gd name="connsiteX3" fmla="*/ 1236877 w 1236877"/>
              <a:gd name="connsiteY3" fmla="*/ 0 h 369332"/>
              <a:gd name="connsiteX4" fmla="*/ 1236877 w 1236877"/>
              <a:gd name="connsiteY4" fmla="*/ 369332 h 369332"/>
              <a:gd name="connsiteX5" fmla="*/ 849322 w 1236877"/>
              <a:gd name="connsiteY5" fmla="*/ 369332 h 369332"/>
              <a:gd name="connsiteX6" fmla="*/ 412292 w 1236877"/>
              <a:gd name="connsiteY6" fmla="*/ 369332 h 369332"/>
              <a:gd name="connsiteX7" fmla="*/ 0 w 1236877"/>
              <a:gd name="connsiteY7" fmla="*/ 369332 h 369332"/>
              <a:gd name="connsiteX8" fmla="*/ 0 w 1236877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36877" h="369332" extrusionOk="0">
                <a:moveTo>
                  <a:pt x="0" y="0"/>
                </a:moveTo>
                <a:cubicBezTo>
                  <a:pt x="175328" y="-17771"/>
                  <a:pt x="280012" y="20305"/>
                  <a:pt x="399924" y="0"/>
                </a:cubicBezTo>
                <a:cubicBezTo>
                  <a:pt x="519836" y="-20305"/>
                  <a:pt x="673338" y="9360"/>
                  <a:pt x="775110" y="0"/>
                </a:cubicBezTo>
                <a:cubicBezTo>
                  <a:pt x="876882" y="-9360"/>
                  <a:pt x="1091270" y="30966"/>
                  <a:pt x="1236877" y="0"/>
                </a:cubicBezTo>
                <a:cubicBezTo>
                  <a:pt x="1272465" y="113493"/>
                  <a:pt x="1210070" y="197069"/>
                  <a:pt x="1236877" y="369332"/>
                </a:cubicBezTo>
                <a:cubicBezTo>
                  <a:pt x="1057692" y="380605"/>
                  <a:pt x="987291" y="349777"/>
                  <a:pt x="849322" y="369332"/>
                </a:cubicBezTo>
                <a:cubicBezTo>
                  <a:pt x="711353" y="388887"/>
                  <a:pt x="537900" y="327536"/>
                  <a:pt x="412292" y="369332"/>
                </a:cubicBezTo>
                <a:cubicBezTo>
                  <a:pt x="286684" y="411128"/>
                  <a:pt x="158184" y="356080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Developer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DD727FC-C6A3-9DAF-8AF5-DF0A415096C9}"/>
              </a:ext>
            </a:extLst>
          </p:cNvPr>
          <p:cNvSpPr txBox="1"/>
          <p:nvPr/>
        </p:nvSpPr>
        <p:spPr>
          <a:xfrm>
            <a:off x="1905814" y="5120325"/>
            <a:ext cx="2422073" cy="369332"/>
          </a:xfrm>
          <a:custGeom>
            <a:avLst/>
            <a:gdLst>
              <a:gd name="connsiteX0" fmla="*/ 0 w 2422073"/>
              <a:gd name="connsiteY0" fmla="*/ 0 h 369332"/>
              <a:gd name="connsiteX1" fmla="*/ 460194 w 2422073"/>
              <a:gd name="connsiteY1" fmla="*/ 0 h 369332"/>
              <a:gd name="connsiteX2" fmla="*/ 871946 w 2422073"/>
              <a:gd name="connsiteY2" fmla="*/ 0 h 369332"/>
              <a:gd name="connsiteX3" fmla="*/ 1404802 w 2422073"/>
              <a:gd name="connsiteY3" fmla="*/ 0 h 369332"/>
              <a:gd name="connsiteX4" fmla="*/ 1864996 w 2422073"/>
              <a:gd name="connsiteY4" fmla="*/ 0 h 369332"/>
              <a:gd name="connsiteX5" fmla="*/ 2422073 w 2422073"/>
              <a:gd name="connsiteY5" fmla="*/ 0 h 369332"/>
              <a:gd name="connsiteX6" fmla="*/ 2422073 w 2422073"/>
              <a:gd name="connsiteY6" fmla="*/ 369332 h 369332"/>
              <a:gd name="connsiteX7" fmla="*/ 1937658 w 2422073"/>
              <a:gd name="connsiteY7" fmla="*/ 369332 h 369332"/>
              <a:gd name="connsiteX8" fmla="*/ 1404802 w 2422073"/>
              <a:gd name="connsiteY8" fmla="*/ 369332 h 369332"/>
              <a:gd name="connsiteX9" fmla="*/ 993050 w 2422073"/>
              <a:gd name="connsiteY9" fmla="*/ 369332 h 369332"/>
              <a:gd name="connsiteX10" fmla="*/ 508635 w 2422073"/>
              <a:gd name="connsiteY10" fmla="*/ 369332 h 369332"/>
              <a:gd name="connsiteX11" fmla="*/ 0 w 2422073"/>
              <a:gd name="connsiteY11" fmla="*/ 369332 h 369332"/>
              <a:gd name="connsiteX12" fmla="*/ 0 w 2422073"/>
              <a:gd name="connsiteY12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22073" h="369332" extrusionOk="0">
                <a:moveTo>
                  <a:pt x="0" y="0"/>
                </a:moveTo>
                <a:cubicBezTo>
                  <a:pt x="199693" y="-10251"/>
                  <a:pt x="246167" y="30869"/>
                  <a:pt x="460194" y="0"/>
                </a:cubicBezTo>
                <a:cubicBezTo>
                  <a:pt x="674221" y="-30869"/>
                  <a:pt x="708354" y="1783"/>
                  <a:pt x="871946" y="0"/>
                </a:cubicBezTo>
                <a:cubicBezTo>
                  <a:pt x="1035538" y="-1783"/>
                  <a:pt x="1215339" y="49588"/>
                  <a:pt x="1404802" y="0"/>
                </a:cubicBezTo>
                <a:cubicBezTo>
                  <a:pt x="1594265" y="-49588"/>
                  <a:pt x="1640279" y="31720"/>
                  <a:pt x="1864996" y="0"/>
                </a:cubicBezTo>
                <a:cubicBezTo>
                  <a:pt x="2089713" y="-31720"/>
                  <a:pt x="2225679" y="45722"/>
                  <a:pt x="2422073" y="0"/>
                </a:cubicBezTo>
                <a:cubicBezTo>
                  <a:pt x="2458233" y="81226"/>
                  <a:pt x="2400535" y="278722"/>
                  <a:pt x="2422073" y="369332"/>
                </a:cubicBezTo>
                <a:cubicBezTo>
                  <a:pt x="2243299" y="402811"/>
                  <a:pt x="2104963" y="338227"/>
                  <a:pt x="1937658" y="369332"/>
                </a:cubicBezTo>
                <a:cubicBezTo>
                  <a:pt x="1770354" y="400437"/>
                  <a:pt x="1620687" y="307360"/>
                  <a:pt x="1404802" y="369332"/>
                </a:cubicBezTo>
                <a:cubicBezTo>
                  <a:pt x="1188917" y="431304"/>
                  <a:pt x="1131819" y="335684"/>
                  <a:pt x="993050" y="369332"/>
                </a:cubicBezTo>
                <a:cubicBezTo>
                  <a:pt x="854281" y="402980"/>
                  <a:pt x="704761" y="348963"/>
                  <a:pt x="508635" y="369332"/>
                </a:cubicBezTo>
                <a:cubicBezTo>
                  <a:pt x="312510" y="389701"/>
                  <a:pt x="246365" y="328998"/>
                  <a:pt x="0" y="369332"/>
                </a:cubicBezTo>
                <a:cubicBezTo>
                  <a:pt x="-36656" y="211973"/>
                  <a:pt x="14639" y="175527"/>
                  <a:pt x="0" y="0"/>
                </a:cubicBezTo>
                <a:close/>
              </a:path>
            </a:pathLst>
          </a:custGeom>
          <a:noFill/>
          <a:ln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Operations/Onboarding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173F669-346B-254F-DCD9-B13DEB261A29}"/>
              </a:ext>
            </a:extLst>
          </p:cNvPr>
          <p:cNvSpPr txBox="1"/>
          <p:nvPr/>
        </p:nvSpPr>
        <p:spPr>
          <a:xfrm>
            <a:off x="729796" y="3741877"/>
            <a:ext cx="1446230" cy="369332"/>
          </a:xfrm>
          <a:custGeom>
            <a:avLst/>
            <a:gdLst>
              <a:gd name="connsiteX0" fmla="*/ 0 w 1446230"/>
              <a:gd name="connsiteY0" fmla="*/ 0 h 369332"/>
              <a:gd name="connsiteX1" fmla="*/ 467614 w 1446230"/>
              <a:gd name="connsiteY1" fmla="*/ 0 h 369332"/>
              <a:gd name="connsiteX2" fmla="*/ 906304 w 1446230"/>
              <a:gd name="connsiteY2" fmla="*/ 0 h 369332"/>
              <a:gd name="connsiteX3" fmla="*/ 1446230 w 1446230"/>
              <a:gd name="connsiteY3" fmla="*/ 0 h 369332"/>
              <a:gd name="connsiteX4" fmla="*/ 1446230 w 1446230"/>
              <a:gd name="connsiteY4" fmla="*/ 369332 h 369332"/>
              <a:gd name="connsiteX5" fmla="*/ 993078 w 1446230"/>
              <a:gd name="connsiteY5" fmla="*/ 369332 h 369332"/>
              <a:gd name="connsiteX6" fmla="*/ 482077 w 1446230"/>
              <a:gd name="connsiteY6" fmla="*/ 369332 h 369332"/>
              <a:gd name="connsiteX7" fmla="*/ 0 w 1446230"/>
              <a:gd name="connsiteY7" fmla="*/ 369332 h 369332"/>
              <a:gd name="connsiteX8" fmla="*/ 0 w 1446230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6230" h="369332" extrusionOk="0">
                <a:moveTo>
                  <a:pt x="0" y="0"/>
                </a:moveTo>
                <a:cubicBezTo>
                  <a:pt x="145599" y="-6849"/>
                  <a:pt x="249752" y="14751"/>
                  <a:pt x="467614" y="0"/>
                </a:cubicBezTo>
                <a:cubicBezTo>
                  <a:pt x="685476" y="-14751"/>
                  <a:pt x="712334" y="24561"/>
                  <a:pt x="906304" y="0"/>
                </a:cubicBezTo>
                <a:cubicBezTo>
                  <a:pt x="1100274" y="-24561"/>
                  <a:pt x="1192007" y="35315"/>
                  <a:pt x="1446230" y="0"/>
                </a:cubicBezTo>
                <a:cubicBezTo>
                  <a:pt x="1481818" y="113493"/>
                  <a:pt x="1419423" y="197069"/>
                  <a:pt x="1446230" y="369332"/>
                </a:cubicBezTo>
                <a:cubicBezTo>
                  <a:pt x="1280408" y="402765"/>
                  <a:pt x="1138547" y="325568"/>
                  <a:pt x="993078" y="369332"/>
                </a:cubicBezTo>
                <a:cubicBezTo>
                  <a:pt x="847609" y="413096"/>
                  <a:pt x="679537" y="336833"/>
                  <a:pt x="482077" y="369332"/>
                </a:cubicBezTo>
                <a:cubicBezTo>
                  <a:pt x="284617" y="401831"/>
                  <a:pt x="131201" y="316100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DevOps tea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CDF6FAF-26C9-D610-090B-D3C16FB0D072}"/>
              </a:ext>
            </a:extLst>
          </p:cNvPr>
          <p:cNvSpPr txBox="1"/>
          <p:nvPr/>
        </p:nvSpPr>
        <p:spPr>
          <a:xfrm>
            <a:off x="2695348" y="3884265"/>
            <a:ext cx="1548565" cy="369332"/>
          </a:xfrm>
          <a:custGeom>
            <a:avLst/>
            <a:gdLst>
              <a:gd name="connsiteX0" fmla="*/ 0 w 1548565"/>
              <a:gd name="connsiteY0" fmla="*/ 0 h 369332"/>
              <a:gd name="connsiteX1" fmla="*/ 500703 w 1548565"/>
              <a:gd name="connsiteY1" fmla="*/ 0 h 369332"/>
              <a:gd name="connsiteX2" fmla="*/ 970434 w 1548565"/>
              <a:gd name="connsiteY2" fmla="*/ 0 h 369332"/>
              <a:gd name="connsiteX3" fmla="*/ 1548565 w 1548565"/>
              <a:gd name="connsiteY3" fmla="*/ 0 h 369332"/>
              <a:gd name="connsiteX4" fmla="*/ 1548565 w 1548565"/>
              <a:gd name="connsiteY4" fmla="*/ 369332 h 369332"/>
              <a:gd name="connsiteX5" fmla="*/ 1063348 w 1548565"/>
              <a:gd name="connsiteY5" fmla="*/ 369332 h 369332"/>
              <a:gd name="connsiteX6" fmla="*/ 516188 w 1548565"/>
              <a:gd name="connsiteY6" fmla="*/ 369332 h 369332"/>
              <a:gd name="connsiteX7" fmla="*/ 0 w 1548565"/>
              <a:gd name="connsiteY7" fmla="*/ 369332 h 369332"/>
              <a:gd name="connsiteX8" fmla="*/ 0 w 1548565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48565" h="369332" extrusionOk="0">
                <a:moveTo>
                  <a:pt x="0" y="0"/>
                </a:moveTo>
                <a:cubicBezTo>
                  <a:pt x="188744" y="-47250"/>
                  <a:pt x="363565" y="29188"/>
                  <a:pt x="500703" y="0"/>
                </a:cubicBezTo>
                <a:cubicBezTo>
                  <a:pt x="637841" y="-29188"/>
                  <a:pt x="876338" y="27244"/>
                  <a:pt x="970434" y="0"/>
                </a:cubicBezTo>
                <a:cubicBezTo>
                  <a:pt x="1064530" y="-27244"/>
                  <a:pt x="1364252" y="59563"/>
                  <a:pt x="1548565" y="0"/>
                </a:cubicBezTo>
                <a:cubicBezTo>
                  <a:pt x="1584153" y="113493"/>
                  <a:pt x="1521758" y="197069"/>
                  <a:pt x="1548565" y="369332"/>
                </a:cubicBezTo>
                <a:cubicBezTo>
                  <a:pt x="1380486" y="378330"/>
                  <a:pt x="1230603" y="356389"/>
                  <a:pt x="1063348" y="369332"/>
                </a:cubicBezTo>
                <a:cubicBezTo>
                  <a:pt x="896093" y="382275"/>
                  <a:pt x="690595" y="357083"/>
                  <a:pt x="516188" y="369332"/>
                </a:cubicBezTo>
                <a:cubicBezTo>
                  <a:pt x="341781" y="381581"/>
                  <a:pt x="145639" y="33595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Platform Team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BBD15E5-87F3-CA6B-E40E-FB65A8529144}"/>
              </a:ext>
            </a:extLst>
          </p:cNvPr>
          <p:cNvSpPr txBox="1"/>
          <p:nvPr/>
        </p:nvSpPr>
        <p:spPr>
          <a:xfrm>
            <a:off x="739202" y="5776999"/>
            <a:ext cx="1302793" cy="369332"/>
          </a:xfrm>
          <a:custGeom>
            <a:avLst/>
            <a:gdLst>
              <a:gd name="connsiteX0" fmla="*/ 0 w 1302793"/>
              <a:gd name="connsiteY0" fmla="*/ 0 h 369332"/>
              <a:gd name="connsiteX1" fmla="*/ 421236 w 1302793"/>
              <a:gd name="connsiteY1" fmla="*/ 0 h 369332"/>
              <a:gd name="connsiteX2" fmla="*/ 816417 w 1302793"/>
              <a:gd name="connsiteY2" fmla="*/ 0 h 369332"/>
              <a:gd name="connsiteX3" fmla="*/ 1302793 w 1302793"/>
              <a:gd name="connsiteY3" fmla="*/ 0 h 369332"/>
              <a:gd name="connsiteX4" fmla="*/ 1302793 w 1302793"/>
              <a:gd name="connsiteY4" fmla="*/ 369332 h 369332"/>
              <a:gd name="connsiteX5" fmla="*/ 894585 w 1302793"/>
              <a:gd name="connsiteY5" fmla="*/ 369332 h 369332"/>
              <a:gd name="connsiteX6" fmla="*/ 434264 w 1302793"/>
              <a:gd name="connsiteY6" fmla="*/ 369332 h 369332"/>
              <a:gd name="connsiteX7" fmla="*/ 0 w 1302793"/>
              <a:gd name="connsiteY7" fmla="*/ 369332 h 369332"/>
              <a:gd name="connsiteX8" fmla="*/ 0 w 1302793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02793" h="369332" extrusionOk="0">
                <a:moveTo>
                  <a:pt x="0" y="0"/>
                </a:moveTo>
                <a:cubicBezTo>
                  <a:pt x="164111" y="-23011"/>
                  <a:pt x="239359" y="45240"/>
                  <a:pt x="421236" y="0"/>
                </a:cubicBezTo>
                <a:cubicBezTo>
                  <a:pt x="603113" y="-45240"/>
                  <a:pt x="726380" y="14626"/>
                  <a:pt x="816417" y="0"/>
                </a:cubicBezTo>
                <a:cubicBezTo>
                  <a:pt x="906454" y="-14626"/>
                  <a:pt x="1139243" y="36486"/>
                  <a:pt x="1302793" y="0"/>
                </a:cubicBezTo>
                <a:cubicBezTo>
                  <a:pt x="1338381" y="113493"/>
                  <a:pt x="1275986" y="197069"/>
                  <a:pt x="1302793" y="369332"/>
                </a:cubicBezTo>
                <a:cubicBezTo>
                  <a:pt x="1137968" y="373705"/>
                  <a:pt x="1031075" y="357141"/>
                  <a:pt x="894585" y="369332"/>
                </a:cubicBezTo>
                <a:cubicBezTo>
                  <a:pt x="758095" y="381523"/>
                  <a:pt x="573642" y="316033"/>
                  <a:pt x="434264" y="369332"/>
                </a:cubicBezTo>
                <a:cubicBezTo>
                  <a:pt x="294886" y="422631"/>
                  <a:pt x="199038" y="321322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Other User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56DECD8-AFDA-2F69-0480-985F4DB77CD8}"/>
              </a:ext>
            </a:extLst>
          </p:cNvPr>
          <p:cNvSpPr txBox="1"/>
          <p:nvPr/>
        </p:nvSpPr>
        <p:spPr>
          <a:xfrm>
            <a:off x="4946998" y="3488837"/>
            <a:ext cx="4078361" cy="313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dirty="0"/>
              <a:t>Does not require strict User RBAC</a:t>
            </a:r>
          </a:p>
          <a:p>
            <a:pPr marL="285750" indent="-285750">
              <a:buFontTx/>
              <a:buChar char="-"/>
            </a:pPr>
            <a:r>
              <a:rPr lang="en-US" dirty="0"/>
              <a:t>Scales well</a:t>
            </a:r>
          </a:p>
          <a:p>
            <a:pPr marL="285750" indent="-285750">
              <a:buFontTx/>
              <a:buChar char="-"/>
            </a:pPr>
            <a:r>
              <a:rPr lang="en-US" dirty="0"/>
              <a:t>Can be integrated with other systems</a:t>
            </a:r>
          </a:p>
          <a:p>
            <a:pPr marL="285750" indent="-285750">
              <a:buFontTx/>
              <a:buChar char="-"/>
            </a:pPr>
            <a:r>
              <a:rPr lang="en-US" dirty="0"/>
              <a:t>Other benefits from DevOps practice…</a:t>
            </a:r>
          </a:p>
          <a:p>
            <a:pPr marL="285750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/>
              <a:t>Limited Infrastructure change tracking</a:t>
            </a:r>
          </a:p>
          <a:p>
            <a:pPr marL="285750" indent="-285750">
              <a:buFontTx/>
              <a:buChar char="-"/>
            </a:pPr>
            <a:r>
              <a:rPr lang="en-US" dirty="0"/>
              <a:t>Limited Input types and valid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Environment inconsistency</a:t>
            </a:r>
          </a:p>
          <a:p>
            <a:pPr marL="285750" indent="-285750">
              <a:buFontTx/>
              <a:buChar char="-"/>
            </a:pPr>
            <a:r>
              <a:rPr lang="en-US" dirty="0"/>
              <a:t>Other cons from the fact that it’s </a:t>
            </a:r>
          </a:p>
          <a:p>
            <a:r>
              <a:rPr lang="en-US" dirty="0"/>
              <a:t>      another abstraction layer</a:t>
            </a:r>
          </a:p>
          <a:p>
            <a:pPr marL="285750" indent="-285750">
              <a:buFontTx/>
              <a:buChar char="-"/>
            </a:pPr>
            <a:endParaRPr lang="en-US" dirty="0"/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1FB57E80-A018-A0B1-4D5E-838F9781EBBB}"/>
              </a:ext>
            </a:extLst>
          </p:cNvPr>
          <p:cNvSpPr/>
          <p:nvPr/>
        </p:nvSpPr>
        <p:spPr>
          <a:xfrm>
            <a:off x="3358674" y="2850269"/>
            <a:ext cx="1109406" cy="234205"/>
          </a:xfrm>
          <a:custGeom>
            <a:avLst/>
            <a:gdLst>
              <a:gd name="connsiteX0" fmla="*/ 0 w 1109406"/>
              <a:gd name="connsiteY0" fmla="*/ 58551 h 234205"/>
              <a:gd name="connsiteX1" fmla="*/ 486229 w 1109406"/>
              <a:gd name="connsiteY1" fmla="*/ 58551 h 234205"/>
              <a:gd name="connsiteX2" fmla="*/ 992304 w 1109406"/>
              <a:gd name="connsiteY2" fmla="*/ 58551 h 234205"/>
              <a:gd name="connsiteX3" fmla="*/ 992304 w 1109406"/>
              <a:gd name="connsiteY3" fmla="*/ 0 h 234205"/>
              <a:gd name="connsiteX4" fmla="*/ 1109406 w 1109406"/>
              <a:gd name="connsiteY4" fmla="*/ 117103 h 234205"/>
              <a:gd name="connsiteX5" fmla="*/ 992304 w 1109406"/>
              <a:gd name="connsiteY5" fmla="*/ 234205 h 234205"/>
              <a:gd name="connsiteX6" fmla="*/ 992304 w 1109406"/>
              <a:gd name="connsiteY6" fmla="*/ 175654 h 234205"/>
              <a:gd name="connsiteX7" fmla="*/ 515998 w 1109406"/>
              <a:gd name="connsiteY7" fmla="*/ 175654 h 234205"/>
              <a:gd name="connsiteX8" fmla="*/ 0 w 1109406"/>
              <a:gd name="connsiteY8" fmla="*/ 175654 h 234205"/>
              <a:gd name="connsiteX9" fmla="*/ 0 w 1109406"/>
              <a:gd name="connsiteY9" fmla="*/ 58551 h 234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9406" h="234205" extrusionOk="0">
                <a:moveTo>
                  <a:pt x="0" y="58551"/>
                </a:moveTo>
                <a:cubicBezTo>
                  <a:pt x="222347" y="37923"/>
                  <a:pt x="310675" y="38927"/>
                  <a:pt x="486229" y="58551"/>
                </a:cubicBezTo>
                <a:cubicBezTo>
                  <a:pt x="661783" y="78175"/>
                  <a:pt x="859783" y="63824"/>
                  <a:pt x="992304" y="58551"/>
                </a:cubicBezTo>
                <a:cubicBezTo>
                  <a:pt x="993020" y="41256"/>
                  <a:pt x="990147" y="15159"/>
                  <a:pt x="992304" y="0"/>
                </a:cubicBezTo>
                <a:cubicBezTo>
                  <a:pt x="1018788" y="24798"/>
                  <a:pt x="1050788" y="67063"/>
                  <a:pt x="1109406" y="117103"/>
                </a:cubicBezTo>
                <a:cubicBezTo>
                  <a:pt x="1072629" y="161142"/>
                  <a:pt x="1026658" y="189317"/>
                  <a:pt x="992304" y="234205"/>
                </a:cubicBezTo>
                <a:cubicBezTo>
                  <a:pt x="994041" y="222130"/>
                  <a:pt x="993488" y="188290"/>
                  <a:pt x="992304" y="175654"/>
                </a:cubicBezTo>
                <a:cubicBezTo>
                  <a:pt x="803633" y="186756"/>
                  <a:pt x="645309" y="195690"/>
                  <a:pt x="515998" y="175654"/>
                </a:cubicBezTo>
                <a:cubicBezTo>
                  <a:pt x="386687" y="155618"/>
                  <a:pt x="107316" y="177347"/>
                  <a:pt x="0" y="175654"/>
                </a:cubicBezTo>
                <a:cubicBezTo>
                  <a:pt x="-3119" y="127483"/>
                  <a:pt x="4360" y="112378"/>
                  <a:pt x="0" y="58551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B27627FF-FCD2-EA77-5398-CDC6E59D9C0A}"/>
              </a:ext>
            </a:extLst>
          </p:cNvPr>
          <p:cNvSpPr/>
          <p:nvPr/>
        </p:nvSpPr>
        <p:spPr>
          <a:xfrm>
            <a:off x="9188242" y="2839067"/>
            <a:ext cx="882285" cy="267739"/>
          </a:xfrm>
          <a:custGeom>
            <a:avLst/>
            <a:gdLst>
              <a:gd name="connsiteX0" fmla="*/ 0 w 882285"/>
              <a:gd name="connsiteY0" fmla="*/ 66935 h 267739"/>
              <a:gd name="connsiteX1" fmla="*/ 366724 w 882285"/>
              <a:gd name="connsiteY1" fmla="*/ 66935 h 267739"/>
              <a:gd name="connsiteX2" fmla="*/ 748416 w 882285"/>
              <a:gd name="connsiteY2" fmla="*/ 66935 h 267739"/>
              <a:gd name="connsiteX3" fmla="*/ 748416 w 882285"/>
              <a:gd name="connsiteY3" fmla="*/ 0 h 267739"/>
              <a:gd name="connsiteX4" fmla="*/ 882285 w 882285"/>
              <a:gd name="connsiteY4" fmla="*/ 133870 h 267739"/>
              <a:gd name="connsiteX5" fmla="*/ 748416 w 882285"/>
              <a:gd name="connsiteY5" fmla="*/ 267739 h 267739"/>
              <a:gd name="connsiteX6" fmla="*/ 748416 w 882285"/>
              <a:gd name="connsiteY6" fmla="*/ 200804 h 267739"/>
              <a:gd name="connsiteX7" fmla="*/ 389176 w 882285"/>
              <a:gd name="connsiteY7" fmla="*/ 200804 h 267739"/>
              <a:gd name="connsiteX8" fmla="*/ 0 w 882285"/>
              <a:gd name="connsiteY8" fmla="*/ 200804 h 267739"/>
              <a:gd name="connsiteX9" fmla="*/ 0 w 882285"/>
              <a:gd name="connsiteY9" fmla="*/ 66935 h 267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82285" h="267739" extrusionOk="0">
                <a:moveTo>
                  <a:pt x="0" y="66935"/>
                </a:moveTo>
                <a:cubicBezTo>
                  <a:pt x="105584" y="66583"/>
                  <a:pt x="271670" y="68505"/>
                  <a:pt x="366724" y="66935"/>
                </a:cubicBezTo>
                <a:cubicBezTo>
                  <a:pt x="461778" y="65365"/>
                  <a:pt x="562217" y="62688"/>
                  <a:pt x="748416" y="66935"/>
                </a:cubicBezTo>
                <a:cubicBezTo>
                  <a:pt x="748903" y="50486"/>
                  <a:pt x="745949" y="28541"/>
                  <a:pt x="748416" y="0"/>
                </a:cubicBezTo>
                <a:cubicBezTo>
                  <a:pt x="799410" y="58417"/>
                  <a:pt x="827958" y="70310"/>
                  <a:pt x="882285" y="133870"/>
                </a:cubicBezTo>
                <a:cubicBezTo>
                  <a:pt x="841114" y="175366"/>
                  <a:pt x="806982" y="207873"/>
                  <a:pt x="748416" y="267739"/>
                </a:cubicBezTo>
                <a:cubicBezTo>
                  <a:pt x="747199" y="241938"/>
                  <a:pt x="750124" y="227606"/>
                  <a:pt x="748416" y="200804"/>
                </a:cubicBezTo>
                <a:cubicBezTo>
                  <a:pt x="590299" y="183490"/>
                  <a:pt x="467139" y="184131"/>
                  <a:pt x="389176" y="200804"/>
                </a:cubicBezTo>
                <a:cubicBezTo>
                  <a:pt x="311213" y="217477"/>
                  <a:pt x="192231" y="202141"/>
                  <a:pt x="0" y="200804"/>
                </a:cubicBezTo>
                <a:cubicBezTo>
                  <a:pt x="-6026" y="162536"/>
                  <a:pt x="5236" y="102763"/>
                  <a:pt x="0" y="66935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FB53F8E3-322F-0C5B-73FC-001E319C1888}"/>
              </a:ext>
            </a:extLst>
          </p:cNvPr>
          <p:cNvSpPr/>
          <p:nvPr/>
        </p:nvSpPr>
        <p:spPr>
          <a:xfrm>
            <a:off x="6680830" y="2854266"/>
            <a:ext cx="545305" cy="237342"/>
          </a:xfrm>
          <a:custGeom>
            <a:avLst/>
            <a:gdLst>
              <a:gd name="connsiteX0" fmla="*/ 0 w 545305"/>
              <a:gd name="connsiteY0" fmla="*/ 59336 h 237342"/>
              <a:gd name="connsiteX1" fmla="*/ 426634 w 545305"/>
              <a:gd name="connsiteY1" fmla="*/ 59336 h 237342"/>
              <a:gd name="connsiteX2" fmla="*/ 426634 w 545305"/>
              <a:gd name="connsiteY2" fmla="*/ 0 h 237342"/>
              <a:gd name="connsiteX3" fmla="*/ 545305 w 545305"/>
              <a:gd name="connsiteY3" fmla="*/ 118671 h 237342"/>
              <a:gd name="connsiteX4" fmla="*/ 426634 w 545305"/>
              <a:gd name="connsiteY4" fmla="*/ 237342 h 237342"/>
              <a:gd name="connsiteX5" fmla="*/ 426634 w 545305"/>
              <a:gd name="connsiteY5" fmla="*/ 178007 h 237342"/>
              <a:gd name="connsiteX6" fmla="*/ 0 w 545305"/>
              <a:gd name="connsiteY6" fmla="*/ 178007 h 237342"/>
              <a:gd name="connsiteX7" fmla="*/ 0 w 545305"/>
              <a:gd name="connsiteY7" fmla="*/ 59336 h 237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45305" h="237342" extrusionOk="0">
                <a:moveTo>
                  <a:pt x="0" y="59336"/>
                </a:moveTo>
                <a:cubicBezTo>
                  <a:pt x="175754" y="65757"/>
                  <a:pt x="238596" y="65041"/>
                  <a:pt x="426634" y="59336"/>
                </a:cubicBezTo>
                <a:cubicBezTo>
                  <a:pt x="425046" y="36575"/>
                  <a:pt x="424541" y="13137"/>
                  <a:pt x="426634" y="0"/>
                </a:cubicBezTo>
                <a:cubicBezTo>
                  <a:pt x="460755" y="42486"/>
                  <a:pt x="502058" y="65675"/>
                  <a:pt x="545305" y="118671"/>
                </a:cubicBezTo>
                <a:cubicBezTo>
                  <a:pt x="516225" y="144178"/>
                  <a:pt x="482138" y="175563"/>
                  <a:pt x="426634" y="237342"/>
                </a:cubicBezTo>
                <a:cubicBezTo>
                  <a:pt x="428082" y="212027"/>
                  <a:pt x="425621" y="205692"/>
                  <a:pt x="426634" y="178007"/>
                </a:cubicBezTo>
                <a:cubicBezTo>
                  <a:pt x="296275" y="179733"/>
                  <a:pt x="134502" y="172857"/>
                  <a:pt x="0" y="178007"/>
                </a:cubicBezTo>
                <a:cubicBezTo>
                  <a:pt x="-5410" y="123908"/>
                  <a:pt x="2994" y="100791"/>
                  <a:pt x="0" y="59336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2426BF3-162F-49FC-4675-917358914730}"/>
              </a:ext>
            </a:extLst>
          </p:cNvPr>
          <p:cNvSpPr txBox="1"/>
          <p:nvPr/>
        </p:nvSpPr>
        <p:spPr>
          <a:xfrm>
            <a:off x="914711" y="4151184"/>
            <a:ext cx="1540422" cy="369332"/>
          </a:xfrm>
          <a:custGeom>
            <a:avLst/>
            <a:gdLst>
              <a:gd name="connsiteX0" fmla="*/ 0 w 1540422"/>
              <a:gd name="connsiteY0" fmla="*/ 0 h 369332"/>
              <a:gd name="connsiteX1" fmla="*/ 498070 w 1540422"/>
              <a:gd name="connsiteY1" fmla="*/ 0 h 369332"/>
              <a:gd name="connsiteX2" fmla="*/ 965331 w 1540422"/>
              <a:gd name="connsiteY2" fmla="*/ 0 h 369332"/>
              <a:gd name="connsiteX3" fmla="*/ 1540422 w 1540422"/>
              <a:gd name="connsiteY3" fmla="*/ 0 h 369332"/>
              <a:gd name="connsiteX4" fmla="*/ 1540422 w 1540422"/>
              <a:gd name="connsiteY4" fmla="*/ 369332 h 369332"/>
              <a:gd name="connsiteX5" fmla="*/ 1057756 w 1540422"/>
              <a:gd name="connsiteY5" fmla="*/ 369332 h 369332"/>
              <a:gd name="connsiteX6" fmla="*/ 513474 w 1540422"/>
              <a:gd name="connsiteY6" fmla="*/ 369332 h 369332"/>
              <a:gd name="connsiteX7" fmla="*/ 0 w 1540422"/>
              <a:gd name="connsiteY7" fmla="*/ 369332 h 369332"/>
              <a:gd name="connsiteX8" fmla="*/ 0 w 1540422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40422" h="369332" extrusionOk="0">
                <a:moveTo>
                  <a:pt x="0" y="0"/>
                </a:moveTo>
                <a:cubicBezTo>
                  <a:pt x="174559" y="-40103"/>
                  <a:pt x="354787" y="7499"/>
                  <a:pt x="498070" y="0"/>
                </a:cubicBezTo>
                <a:cubicBezTo>
                  <a:pt x="641353" y="-7499"/>
                  <a:pt x="741107" y="676"/>
                  <a:pt x="965331" y="0"/>
                </a:cubicBezTo>
                <a:cubicBezTo>
                  <a:pt x="1189555" y="-676"/>
                  <a:pt x="1297199" y="37223"/>
                  <a:pt x="1540422" y="0"/>
                </a:cubicBezTo>
                <a:cubicBezTo>
                  <a:pt x="1576010" y="113493"/>
                  <a:pt x="1513615" y="197069"/>
                  <a:pt x="1540422" y="369332"/>
                </a:cubicBezTo>
                <a:cubicBezTo>
                  <a:pt x="1399880" y="405631"/>
                  <a:pt x="1181672" y="329006"/>
                  <a:pt x="1057756" y="369332"/>
                </a:cubicBezTo>
                <a:cubicBezTo>
                  <a:pt x="933840" y="409658"/>
                  <a:pt x="635098" y="365067"/>
                  <a:pt x="513474" y="369332"/>
                </a:cubicBezTo>
                <a:cubicBezTo>
                  <a:pt x="391850" y="373597"/>
                  <a:pt x="102917" y="317305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Other Systems</a:t>
            </a:r>
          </a:p>
        </p:txBody>
      </p:sp>
    </p:spTree>
    <p:extLst>
      <p:ext uri="{BB962C8B-B14F-4D97-AF65-F5344CB8AC3E}">
        <p14:creationId xmlns:p14="http://schemas.microsoft.com/office/powerpoint/2010/main" val="13225310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rastructure As Code (</a:t>
            </a:r>
            <a:r>
              <a:rPr lang="en-US" dirty="0" err="1"/>
              <a:t>IaC</a:t>
            </a:r>
            <a:r>
              <a:rPr lang="en-US" dirty="0"/>
              <a:t>) </a:t>
            </a:r>
            <a:r>
              <a:rPr lang="en-US" b="1" dirty="0"/>
              <a:t>via </a:t>
            </a:r>
            <a:r>
              <a:rPr lang="en-US" b="1" dirty="0" err="1"/>
              <a:t>GitOps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Who can live with it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6529" y="2151874"/>
            <a:ext cx="1963754" cy="1963754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1F45828B-8F5C-FF73-3C4B-A998B8DACF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5458" y="2585597"/>
            <a:ext cx="1064041" cy="943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53478140-8BE6-5525-DF07-9358650A627B}"/>
              </a:ext>
            </a:extLst>
          </p:cNvPr>
          <p:cNvSpPr/>
          <p:nvPr/>
        </p:nvSpPr>
        <p:spPr>
          <a:xfrm>
            <a:off x="4667673" y="1690689"/>
            <a:ext cx="4707353" cy="4802186"/>
          </a:xfrm>
          <a:custGeom>
            <a:avLst/>
            <a:gdLst>
              <a:gd name="connsiteX0" fmla="*/ 0 w 4707353"/>
              <a:gd name="connsiteY0" fmla="*/ 784575 h 4802186"/>
              <a:gd name="connsiteX1" fmla="*/ 784575 w 4707353"/>
              <a:gd name="connsiteY1" fmla="*/ 0 h 4802186"/>
              <a:gd name="connsiteX2" fmla="*/ 1370373 w 4707353"/>
              <a:gd name="connsiteY2" fmla="*/ 0 h 4802186"/>
              <a:gd name="connsiteX3" fmla="*/ 1862025 w 4707353"/>
              <a:gd name="connsiteY3" fmla="*/ 0 h 4802186"/>
              <a:gd name="connsiteX4" fmla="*/ 2322294 w 4707353"/>
              <a:gd name="connsiteY4" fmla="*/ 0 h 4802186"/>
              <a:gd name="connsiteX5" fmla="*/ 2876710 w 4707353"/>
              <a:gd name="connsiteY5" fmla="*/ 0 h 4802186"/>
              <a:gd name="connsiteX6" fmla="*/ 3368362 w 4707353"/>
              <a:gd name="connsiteY6" fmla="*/ 0 h 4802186"/>
              <a:gd name="connsiteX7" fmla="*/ 3922778 w 4707353"/>
              <a:gd name="connsiteY7" fmla="*/ 0 h 4802186"/>
              <a:gd name="connsiteX8" fmla="*/ 4707353 w 4707353"/>
              <a:gd name="connsiteY8" fmla="*/ 784575 h 4802186"/>
              <a:gd name="connsiteX9" fmla="*/ 4707353 w 4707353"/>
              <a:gd name="connsiteY9" fmla="*/ 1258754 h 4802186"/>
              <a:gd name="connsiteX10" fmla="*/ 4707353 w 4707353"/>
              <a:gd name="connsiteY10" fmla="*/ 1797593 h 4802186"/>
              <a:gd name="connsiteX11" fmla="*/ 4707353 w 4707353"/>
              <a:gd name="connsiteY11" fmla="*/ 2336432 h 4802186"/>
              <a:gd name="connsiteX12" fmla="*/ 4707353 w 4707353"/>
              <a:gd name="connsiteY12" fmla="*/ 2842941 h 4802186"/>
              <a:gd name="connsiteX13" fmla="*/ 4707353 w 4707353"/>
              <a:gd name="connsiteY13" fmla="*/ 3446441 h 4802186"/>
              <a:gd name="connsiteX14" fmla="*/ 4707353 w 4707353"/>
              <a:gd name="connsiteY14" fmla="*/ 4017611 h 4802186"/>
              <a:gd name="connsiteX15" fmla="*/ 3922778 w 4707353"/>
              <a:gd name="connsiteY15" fmla="*/ 4802186 h 4802186"/>
              <a:gd name="connsiteX16" fmla="*/ 3368362 w 4707353"/>
              <a:gd name="connsiteY16" fmla="*/ 4802186 h 4802186"/>
              <a:gd name="connsiteX17" fmla="*/ 2845328 w 4707353"/>
              <a:gd name="connsiteY17" fmla="*/ 4802186 h 4802186"/>
              <a:gd name="connsiteX18" fmla="*/ 2416441 w 4707353"/>
              <a:gd name="connsiteY18" fmla="*/ 4802186 h 4802186"/>
              <a:gd name="connsiteX19" fmla="*/ 1956171 w 4707353"/>
              <a:gd name="connsiteY19" fmla="*/ 4802186 h 4802186"/>
              <a:gd name="connsiteX20" fmla="*/ 1370373 w 4707353"/>
              <a:gd name="connsiteY20" fmla="*/ 4802186 h 4802186"/>
              <a:gd name="connsiteX21" fmla="*/ 784575 w 4707353"/>
              <a:gd name="connsiteY21" fmla="*/ 4802186 h 4802186"/>
              <a:gd name="connsiteX22" fmla="*/ 0 w 4707353"/>
              <a:gd name="connsiteY22" fmla="*/ 4017611 h 4802186"/>
              <a:gd name="connsiteX23" fmla="*/ 0 w 4707353"/>
              <a:gd name="connsiteY23" fmla="*/ 3446441 h 4802186"/>
              <a:gd name="connsiteX24" fmla="*/ 0 w 4707353"/>
              <a:gd name="connsiteY24" fmla="*/ 3004593 h 4802186"/>
              <a:gd name="connsiteX25" fmla="*/ 0 w 4707353"/>
              <a:gd name="connsiteY25" fmla="*/ 2465754 h 4802186"/>
              <a:gd name="connsiteX26" fmla="*/ 0 w 4707353"/>
              <a:gd name="connsiteY26" fmla="*/ 1991575 h 4802186"/>
              <a:gd name="connsiteX27" fmla="*/ 0 w 4707353"/>
              <a:gd name="connsiteY27" fmla="*/ 1420405 h 4802186"/>
              <a:gd name="connsiteX28" fmla="*/ 0 w 4707353"/>
              <a:gd name="connsiteY28" fmla="*/ 784575 h 4802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4707353" h="4802186" extrusionOk="0">
                <a:moveTo>
                  <a:pt x="0" y="784575"/>
                </a:moveTo>
                <a:cubicBezTo>
                  <a:pt x="-49440" y="320770"/>
                  <a:pt x="256563" y="35544"/>
                  <a:pt x="784575" y="0"/>
                </a:cubicBezTo>
                <a:cubicBezTo>
                  <a:pt x="1010919" y="-53889"/>
                  <a:pt x="1099269" y="27415"/>
                  <a:pt x="1370373" y="0"/>
                </a:cubicBezTo>
                <a:cubicBezTo>
                  <a:pt x="1641477" y="-27415"/>
                  <a:pt x="1647378" y="34760"/>
                  <a:pt x="1862025" y="0"/>
                </a:cubicBezTo>
                <a:cubicBezTo>
                  <a:pt x="2076672" y="-34760"/>
                  <a:pt x="2149682" y="11053"/>
                  <a:pt x="2322294" y="0"/>
                </a:cubicBezTo>
                <a:cubicBezTo>
                  <a:pt x="2494906" y="-11053"/>
                  <a:pt x="2747524" y="7796"/>
                  <a:pt x="2876710" y="0"/>
                </a:cubicBezTo>
                <a:cubicBezTo>
                  <a:pt x="3005896" y="-7796"/>
                  <a:pt x="3165210" y="5090"/>
                  <a:pt x="3368362" y="0"/>
                </a:cubicBezTo>
                <a:cubicBezTo>
                  <a:pt x="3571514" y="-5090"/>
                  <a:pt x="3772601" y="27291"/>
                  <a:pt x="3922778" y="0"/>
                </a:cubicBezTo>
                <a:cubicBezTo>
                  <a:pt x="4353841" y="-21415"/>
                  <a:pt x="4683867" y="383905"/>
                  <a:pt x="4707353" y="784575"/>
                </a:cubicBezTo>
                <a:cubicBezTo>
                  <a:pt x="4719951" y="929013"/>
                  <a:pt x="4662880" y="1073062"/>
                  <a:pt x="4707353" y="1258754"/>
                </a:cubicBezTo>
                <a:cubicBezTo>
                  <a:pt x="4751826" y="1444446"/>
                  <a:pt x="4656214" y="1664078"/>
                  <a:pt x="4707353" y="1797593"/>
                </a:cubicBezTo>
                <a:cubicBezTo>
                  <a:pt x="4758492" y="1931108"/>
                  <a:pt x="4694629" y="2226654"/>
                  <a:pt x="4707353" y="2336432"/>
                </a:cubicBezTo>
                <a:cubicBezTo>
                  <a:pt x="4720077" y="2446210"/>
                  <a:pt x="4664614" y="2717154"/>
                  <a:pt x="4707353" y="2842941"/>
                </a:cubicBezTo>
                <a:cubicBezTo>
                  <a:pt x="4750092" y="2968728"/>
                  <a:pt x="4653669" y="3186124"/>
                  <a:pt x="4707353" y="3446441"/>
                </a:cubicBezTo>
                <a:cubicBezTo>
                  <a:pt x="4761037" y="3706758"/>
                  <a:pt x="4706476" y="3795061"/>
                  <a:pt x="4707353" y="4017611"/>
                </a:cubicBezTo>
                <a:cubicBezTo>
                  <a:pt x="4686143" y="4454403"/>
                  <a:pt x="4326665" y="4781885"/>
                  <a:pt x="3922778" y="4802186"/>
                </a:cubicBezTo>
                <a:cubicBezTo>
                  <a:pt x="3774676" y="4838256"/>
                  <a:pt x="3631580" y="4777626"/>
                  <a:pt x="3368362" y="4802186"/>
                </a:cubicBezTo>
                <a:cubicBezTo>
                  <a:pt x="3105144" y="4826746"/>
                  <a:pt x="3027815" y="4742259"/>
                  <a:pt x="2845328" y="4802186"/>
                </a:cubicBezTo>
                <a:cubicBezTo>
                  <a:pt x="2662841" y="4862113"/>
                  <a:pt x="2606078" y="4783839"/>
                  <a:pt x="2416441" y="4802186"/>
                </a:cubicBezTo>
                <a:cubicBezTo>
                  <a:pt x="2226804" y="4820533"/>
                  <a:pt x="2126049" y="4761204"/>
                  <a:pt x="1956171" y="4802186"/>
                </a:cubicBezTo>
                <a:cubicBezTo>
                  <a:pt x="1786293" y="4843168"/>
                  <a:pt x="1490676" y="4759271"/>
                  <a:pt x="1370373" y="4802186"/>
                </a:cubicBezTo>
                <a:cubicBezTo>
                  <a:pt x="1250070" y="4845101"/>
                  <a:pt x="990738" y="4758016"/>
                  <a:pt x="784575" y="4802186"/>
                </a:cubicBezTo>
                <a:cubicBezTo>
                  <a:pt x="365936" y="4831233"/>
                  <a:pt x="-89864" y="4498309"/>
                  <a:pt x="0" y="4017611"/>
                </a:cubicBezTo>
                <a:cubicBezTo>
                  <a:pt x="-42724" y="3896007"/>
                  <a:pt x="56" y="3717071"/>
                  <a:pt x="0" y="3446441"/>
                </a:cubicBezTo>
                <a:cubicBezTo>
                  <a:pt x="-56" y="3175811"/>
                  <a:pt x="34692" y="3143704"/>
                  <a:pt x="0" y="3004593"/>
                </a:cubicBezTo>
                <a:cubicBezTo>
                  <a:pt x="-34692" y="2865482"/>
                  <a:pt x="49210" y="2588393"/>
                  <a:pt x="0" y="2465754"/>
                </a:cubicBezTo>
                <a:cubicBezTo>
                  <a:pt x="-49210" y="2343115"/>
                  <a:pt x="16819" y="2212889"/>
                  <a:pt x="0" y="1991575"/>
                </a:cubicBezTo>
                <a:cubicBezTo>
                  <a:pt x="-16819" y="1770261"/>
                  <a:pt x="40972" y="1562802"/>
                  <a:pt x="0" y="1420405"/>
                </a:cubicBezTo>
                <a:cubicBezTo>
                  <a:pt x="-40972" y="1278008"/>
                  <a:pt x="61624" y="1043984"/>
                  <a:pt x="0" y="784575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B807D54-217A-EB96-4306-79BC832CA630}"/>
              </a:ext>
            </a:extLst>
          </p:cNvPr>
          <p:cNvGrpSpPr/>
          <p:nvPr/>
        </p:nvGrpSpPr>
        <p:grpSpPr>
          <a:xfrm>
            <a:off x="7987602" y="2510473"/>
            <a:ext cx="1158800" cy="1098301"/>
            <a:chOff x="3591201" y="2800773"/>
            <a:chExt cx="887513" cy="946980"/>
          </a:xfrm>
        </p:grpSpPr>
        <p:pic>
          <p:nvPicPr>
            <p:cNvPr id="8" name="Picture 2">
              <a:extLst>
                <a:ext uri="{FF2B5EF4-FFF2-40B4-BE49-F238E27FC236}">
                  <a16:creationId xmlns:a16="http://schemas.microsoft.com/office/drawing/2014/main" id="{A94EB215-3E96-1CF3-633E-BA52ED360D1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5289" y="280077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2">
              <a:extLst>
                <a:ext uri="{FF2B5EF4-FFF2-40B4-BE49-F238E27FC236}">
                  <a16:creationId xmlns:a16="http://schemas.microsoft.com/office/drawing/2014/main" id="{77503CE5-0331-8B70-1B9C-DCDB256451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2438" y="2864688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2">
              <a:extLst>
                <a:ext uri="{FF2B5EF4-FFF2-40B4-BE49-F238E27FC236}">
                  <a16:creationId xmlns:a16="http://schemas.microsoft.com/office/drawing/2014/main" id="{B6293F53-00FC-1E2A-243F-3F242545683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1201" y="292860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562D573-A12D-A313-D630-7C1973588AA2}"/>
              </a:ext>
            </a:extLst>
          </p:cNvPr>
          <p:cNvGrpSpPr/>
          <p:nvPr/>
        </p:nvGrpSpPr>
        <p:grpSpPr>
          <a:xfrm>
            <a:off x="1883950" y="2364677"/>
            <a:ext cx="1291179" cy="1287835"/>
            <a:chOff x="3409768" y="2600757"/>
            <a:chExt cx="1571305" cy="1560279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AE3BC9F0-D6D5-334D-C2C1-C7A80617CD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16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FD495CD4-4BC7-9EFE-1699-A28CC014DAF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F47EE736-55EF-8CF0-4A6E-92C43B6A57DB}"/>
              </a:ext>
            </a:extLst>
          </p:cNvPr>
          <p:cNvSpPr/>
          <p:nvPr/>
        </p:nvSpPr>
        <p:spPr>
          <a:xfrm>
            <a:off x="564242" y="4496905"/>
            <a:ext cx="3907982" cy="1973671"/>
          </a:xfrm>
          <a:custGeom>
            <a:avLst/>
            <a:gdLst>
              <a:gd name="connsiteX0" fmla="*/ 0 w 3907982"/>
              <a:gd name="connsiteY0" fmla="*/ 328952 h 1973671"/>
              <a:gd name="connsiteX1" fmla="*/ 328952 w 3907982"/>
              <a:gd name="connsiteY1" fmla="*/ 0 h 1973671"/>
              <a:gd name="connsiteX2" fmla="*/ 870632 w 3907982"/>
              <a:gd name="connsiteY2" fmla="*/ 0 h 1973671"/>
              <a:gd name="connsiteX3" fmla="*/ 1347310 w 3907982"/>
              <a:gd name="connsiteY3" fmla="*/ 0 h 1973671"/>
              <a:gd name="connsiteX4" fmla="*/ 1921490 w 3907982"/>
              <a:gd name="connsiteY4" fmla="*/ 0 h 1973671"/>
              <a:gd name="connsiteX5" fmla="*/ 2398168 w 3907982"/>
              <a:gd name="connsiteY5" fmla="*/ 0 h 1973671"/>
              <a:gd name="connsiteX6" fmla="*/ 2972349 w 3907982"/>
              <a:gd name="connsiteY6" fmla="*/ 0 h 1973671"/>
              <a:gd name="connsiteX7" fmla="*/ 3579030 w 3907982"/>
              <a:gd name="connsiteY7" fmla="*/ 0 h 1973671"/>
              <a:gd name="connsiteX8" fmla="*/ 3907982 w 3907982"/>
              <a:gd name="connsiteY8" fmla="*/ 328952 h 1973671"/>
              <a:gd name="connsiteX9" fmla="*/ 3907982 w 3907982"/>
              <a:gd name="connsiteY9" fmla="*/ 754383 h 1973671"/>
              <a:gd name="connsiteX10" fmla="*/ 3907982 w 3907982"/>
              <a:gd name="connsiteY10" fmla="*/ 1166657 h 1973671"/>
              <a:gd name="connsiteX11" fmla="*/ 3907982 w 3907982"/>
              <a:gd name="connsiteY11" fmla="*/ 1644719 h 1973671"/>
              <a:gd name="connsiteX12" fmla="*/ 3579030 w 3907982"/>
              <a:gd name="connsiteY12" fmla="*/ 1973671 h 1973671"/>
              <a:gd name="connsiteX13" fmla="*/ 3102352 w 3907982"/>
              <a:gd name="connsiteY13" fmla="*/ 1973671 h 1973671"/>
              <a:gd name="connsiteX14" fmla="*/ 2593173 w 3907982"/>
              <a:gd name="connsiteY14" fmla="*/ 1973671 h 1973671"/>
              <a:gd name="connsiteX15" fmla="*/ 2051493 w 3907982"/>
              <a:gd name="connsiteY15" fmla="*/ 1973671 h 1973671"/>
              <a:gd name="connsiteX16" fmla="*/ 1574815 w 3907982"/>
              <a:gd name="connsiteY16" fmla="*/ 1973671 h 1973671"/>
              <a:gd name="connsiteX17" fmla="*/ 968134 w 3907982"/>
              <a:gd name="connsiteY17" fmla="*/ 1973671 h 1973671"/>
              <a:gd name="connsiteX18" fmla="*/ 328952 w 3907982"/>
              <a:gd name="connsiteY18" fmla="*/ 1973671 h 1973671"/>
              <a:gd name="connsiteX19" fmla="*/ 0 w 3907982"/>
              <a:gd name="connsiteY19" fmla="*/ 1644719 h 1973671"/>
              <a:gd name="connsiteX20" fmla="*/ 0 w 3907982"/>
              <a:gd name="connsiteY20" fmla="*/ 1206130 h 1973671"/>
              <a:gd name="connsiteX21" fmla="*/ 0 w 3907982"/>
              <a:gd name="connsiteY21" fmla="*/ 754383 h 1973671"/>
              <a:gd name="connsiteX22" fmla="*/ 0 w 3907982"/>
              <a:gd name="connsiteY22" fmla="*/ 328952 h 1973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07982" h="1973671" fill="none" extrusionOk="0">
                <a:moveTo>
                  <a:pt x="0" y="328952"/>
                </a:moveTo>
                <a:cubicBezTo>
                  <a:pt x="-20651" y="146108"/>
                  <a:pt x="167917" y="17770"/>
                  <a:pt x="328952" y="0"/>
                </a:cubicBezTo>
                <a:cubicBezTo>
                  <a:pt x="460823" y="-3407"/>
                  <a:pt x="745429" y="6986"/>
                  <a:pt x="870632" y="0"/>
                </a:cubicBezTo>
                <a:cubicBezTo>
                  <a:pt x="995835" y="-6986"/>
                  <a:pt x="1209204" y="5094"/>
                  <a:pt x="1347310" y="0"/>
                </a:cubicBezTo>
                <a:cubicBezTo>
                  <a:pt x="1485416" y="-5094"/>
                  <a:pt x="1767094" y="43327"/>
                  <a:pt x="1921490" y="0"/>
                </a:cubicBezTo>
                <a:cubicBezTo>
                  <a:pt x="2075886" y="-43327"/>
                  <a:pt x="2194986" y="32994"/>
                  <a:pt x="2398168" y="0"/>
                </a:cubicBezTo>
                <a:cubicBezTo>
                  <a:pt x="2601350" y="-32994"/>
                  <a:pt x="2725470" y="8147"/>
                  <a:pt x="2972349" y="0"/>
                </a:cubicBezTo>
                <a:cubicBezTo>
                  <a:pt x="3219228" y="-8147"/>
                  <a:pt x="3301264" y="51108"/>
                  <a:pt x="3579030" y="0"/>
                </a:cubicBezTo>
                <a:cubicBezTo>
                  <a:pt x="3786036" y="-43979"/>
                  <a:pt x="3862847" y="129974"/>
                  <a:pt x="3907982" y="328952"/>
                </a:cubicBezTo>
                <a:cubicBezTo>
                  <a:pt x="3927190" y="499761"/>
                  <a:pt x="3865014" y="622426"/>
                  <a:pt x="3907982" y="754383"/>
                </a:cubicBezTo>
                <a:cubicBezTo>
                  <a:pt x="3950950" y="886340"/>
                  <a:pt x="3884282" y="1010150"/>
                  <a:pt x="3907982" y="1166657"/>
                </a:cubicBezTo>
                <a:cubicBezTo>
                  <a:pt x="3931682" y="1323164"/>
                  <a:pt x="3889635" y="1536617"/>
                  <a:pt x="3907982" y="1644719"/>
                </a:cubicBezTo>
                <a:cubicBezTo>
                  <a:pt x="3943622" y="1816961"/>
                  <a:pt x="3755069" y="2012715"/>
                  <a:pt x="3579030" y="1973671"/>
                </a:cubicBezTo>
                <a:cubicBezTo>
                  <a:pt x="3444668" y="1990488"/>
                  <a:pt x="3272787" y="1932051"/>
                  <a:pt x="3102352" y="1973671"/>
                </a:cubicBezTo>
                <a:cubicBezTo>
                  <a:pt x="2931917" y="2015291"/>
                  <a:pt x="2776420" y="1930870"/>
                  <a:pt x="2593173" y="1973671"/>
                </a:cubicBezTo>
                <a:cubicBezTo>
                  <a:pt x="2409926" y="2016472"/>
                  <a:pt x="2166683" y="1935861"/>
                  <a:pt x="2051493" y="1973671"/>
                </a:cubicBezTo>
                <a:cubicBezTo>
                  <a:pt x="1936303" y="2011481"/>
                  <a:pt x="1706003" y="1931122"/>
                  <a:pt x="1574815" y="1973671"/>
                </a:cubicBezTo>
                <a:cubicBezTo>
                  <a:pt x="1443627" y="2016220"/>
                  <a:pt x="1247899" y="1953274"/>
                  <a:pt x="968134" y="1973671"/>
                </a:cubicBezTo>
                <a:cubicBezTo>
                  <a:pt x="688369" y="1994068"/>
                  <a:pt x="520585" y="1903923"/>
                  <a:pt x="328952" y="1973671"/>
                </a:cubicBezTo>
                <a:cubicBezTo>
                  <a:pt x="155980" y="2004226"/>
                  <a:pt x="13462" y="1832062"/>
                  <a:pt x="0" y="1644719"/>
                </a:cubicBezTo>
                <a:cubicBezTo>
                  <a:pt x="-41624" y="1532307"/>
                  <a:pt x="43509" y="1313492"/>
                  <a:pt x="0" y="1206130"/>
                </a:cubicBezTo>
                <a:cubicBezTo>
                  <a:pt x="-43509" y="1098768"/>
                  <a:pt x="9235" y="894212"/>
                  <a:pt x="0" y="754383"/>
                </a:cubicBezTo>
                <a:cubicBezTo>
                  <a:pt x="-9235" y="614554"/>
                  <a:pt x="45077" y="497656"/>
                  <a:pt x="0" y="328952"/>
                </a:cubicBezTo>
                <a:close/>
              </a:path>
              <a:path w="3907982" h="1973671" stroke="0" extrusionOk="0">
                <a:moveTo>
                  <a:pt x="0" y="328952"/>
                </a:moveTo>
                <a:cubicBezTo>
                  <a:pt x="-17036" y="136769"/>
                  <a:pt x="106867" y="15167"/>
                  <a:pt x="328952" y="0"/>
                </a:cubicBezTo>
                <a:cubicBezTo>
                  <a:pt x="603979" y="-9680"/>
                  <a:pt x="800722" y="68343"/>
                  <a:pt x="935633" y="0"/>
                </a:cubicBezTo>
                <a:cubicBezTo>
                  <a:pt x="1070544" y="-68343"/>
                  <a:pt x="1330191" y="21190"/>
                  <a:pt x="1444812" y="0"/>
                </a:cubicBezTo>
                <a:cubicBezTo>
                  <a:pt x="1559433" y="-21190"/>
                  <a:pt x="1790638" y="47625"/>
                  <a:pt x="1921490" y="0"/>
                </a:cubicBezTo>
                <a:cubicBezTo>
                  <a:pt x="2052342" y="-47625"/>
                  <a:pt x="2277783" y="49593"/>
                  <a:pt x="2495671" y="0"/>
                </a:cubicBezTo>
                <a:cubicBezTo>
                  <a:pt x="2713559" y="-49593"/>
                  <a:pt x="2761626" y="33268"/>
                  <a:pt x="3004850" y="0"/>
                </a:cubicBezTo>
                <a:cubicBezTo>
                  <a:pt x="3248074" y="-33268"/>
                  <a:pt x="3393992" y="11087"/>
                  <a:pt x="3579030" y="0"/>
                </a:cubicBezTo>
                <a:cubicBezTo>
                  <a:pt x="3756092" y="-43988"/>
                  <a:pt x="3877284" y="189938"/>
                  <a:pt x="3907982" y="328952"/>
                </a:cubicBezTo>
                <a:cubicBezTo>
                  <a:pt x="3931566" y="483168"/>
                  <a:pt x="3882106" y="626174"/>
                  <a:pt x="3907982" y="741226"/>
                </a:cubicBezTo>
                <a:cubicBezTo>
                  <a:pt x="3933858" y="856278"/>
                  <a:pt x="3897496" y="1066877"/>
                  <a:pt x="3907982" y="1179815"/>
                </a:cubicBezTo>
                <a:cubicBezTo>
                  <a:pt x="3918468" y="1292753"/>
                  <a:pt x="3883749" y="1486061"/>
                  <a:pt x="3907982" y="1644719"/>
                </a:cubicBezTo>
                <a:cubicBezTo>
                  <a:pt x="3929061" y="1805565"/>
                  <a:pt x="3804953" y="1945139"/>
                  <a:pt x="3579030" y="1973671"/>
                </a:cubicBezTo>
                <a:cubicBezTo>
                  <a:pt x="3322915" y="1984342"/>
                  <a:pt x="3289776" y="1938820"/>
                  <a:pt x="3037350" y="1973671"/>
                </a:cubicBezTo>
                <a:cubicBezTo>
                  <a:pt x="2784924" y="2008522"/>
                  <a:pt x="2703014" y="1930405"/>
                  <a:pt x="2560672" y="1973671"/>
                </a:cubicBezTo>
                <a:cubicBezTo>
                  <a:pt x="2418330" y="2016937"/>
                  <a:pt x="2234328" y="1937553"/>
                  <a:pt x="2018993" y="1973671"/>
                </a:cubicBezTo>
                <a:cubicBezTo>
                  <a:pt x="1803658" y="2009789"/>
                  <a:pt x="1706910" y="1955422"/>
                  <a:pt x="1412311" y="1973671"/>
                </a:cubicBezTo>
                <a:cubicBezTo>
                  <a:pt x="1117712" y="1991920"/>
                  <a:pt x="1139380" y="1957958"/>
                  <a:pt x="870632" y="1973671"/>
                </a:cubicBezTo>
                <a:cubicBezTo>
                  <a:pt x="601884" y="1989384"/>
                  <a:pt x="522801" y="1956084"/>
                  <a:pt x="328952" y="1973671"/>
                </a:cubicBezTo>
                <a:cubicBezTo>
                  <a:pt x="119289" y="1974823"/>
                  <a:pt x="22827" y="1785244"/>
                  <a:pt x="0" y="1644719"/>
                </a:cubicBezTo>
                <a:cubicBezTo>
                  <a:pt x="-42726" y="1426548"/>
                  <a:pt x="37150" y="1382597"/>
                  <a:pt x="0" y="1192972"/>
                </a:cubicBezTo>
                <a:cubicBezTo>
                  <a:pt x="-37150" y="1003347"/>
                  <a:pt x="47038" y="893053"/>
                  <a:pt x="0" y="780699"/>
                </a:cubicBezTo>
                <a:cubicBezTo>
                  <a:pt x="-47038" y="668345"/>
                  <a:pt x="18524" y="510819"/>
                  <a:pt x="0" y="328952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lumMod val="67000"/>
                  <a:alpha val="0"/>
                </a:schemeClr>
              </a:gs>
              <a:gs pos="38000">
                <a:schemeClr val="accent2">
                  <a:lumMod val="97000"/>
                  <a:lumOff val="3000"/>
                </a:schemeClr>
              </a:gs>
              <a:gs pos="55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15511DB5-BA82-0B4D-6C1F-BD6988456645}"/>
              </a:ext>
            </a:extLst>
          </p:cNvPr>
          <p:cNvSpPr/>
          <p:nvPr/>
        </p:nvSpPr>
        <p:spPr>
          <a:xfrm>
            <a:off x="576146" y="3630212"/>
            <a:ext cx="3907982" cy="1948810"/>
          </a:xfrm>
          <a:custGeom>
            <a:avLst/>
            <a:gdLst>
              <a:gd name="connsiteX0" fmla="*/ 0 w 3907982"/>
              <a:gd name="connsiteY0" fmla="*/ 324808 h 1948810"/>
              <a:gd name="connsiteX1" fmla="*/ 324808 w 3907982"/>
              <a:gd name="connsiteY1" fmla="*/ 0 h 1948810"/>
              <a:gd name="connsiteX2" fmla="*/ 867869 w 3907982"/>
              <a:gd name="connsiteY2" fmla="*/ 0 h 1948810"/>
              <a:gd name="connsiteX3" fmla="*/ 1345763 w 3907982"/>
              <a:gd name="connsiteY3" fmla="*/ 0 h 1948810"/>
              <a:gd name="connsiteX4" fmla="*/ 1921407 w 3907982"/>
              <a:gd name="connsiteY4" fmla="*/ 0 h 1948810"/>
              <a:gd name="connsiteX5" fmla="*/ 2399301 w 3907982"/>
              <a:gd name="connsiteY5" fmla="*/ 0 h 1948810"/>
              <a:gd name="connsiteX6" fmla="*/ 2974946 w 3907982"/>
              <a:gd name="connsiteY6" fmla="*/ 0 h 1948810"/>
              <a:gd name="connsiteX7" fmla="*/ 3583174 w 3907982"/>
              <a:gd name="connsiteY7" fmla="*/ 0 h 1948810"/>
              <a:gd name="connsiteX8" fmla="*/ 3907982 w 3907982"/>
              <a:gd name="connsiteY8" fmla="*/ 324808 h 1948810"/>
              <a:gd name="connsiteX9" fmla="*/ 3907982 w 3907982"/>
              <a:gd name="connsiteY9" fmla="*/ 744881 h 1948810"/>
              <a:gd name="connsiteX10" fmla="*/ 3907982 w 3907982"/>
              <a:gd name="connsiteY10" fmla="*/ 1151962 h 1948810"/>
              <a:gd name="connsiteX11" fmla="*/ 3907982 w 3907982"/>
              <a:gd name="connsiteY11" fmla="*/ 1624002 h 1948810"/>
              <a:gd name="connsiteX12" fmla="*/ 3583174 w 3907982"/>
              <a:gd name="connsiteY12" fmla="*/ 1948810 h 1948810"/>
              <a:gd name="connsiteX13" fmla="*/ 3105280 w 3907982"/>
              <a:gd name="connsiteY13" fmla="*/ 1948810 h 1948810"/>
              <a:gd name="connsiteX14" fmla="*/ 2594803 w 3907982"/>
              <a:gd name="connsiteY14" fmla="*/ 1948810 h 1948810"/>
              <a:gd name="connsiteX15" fmla="*/ 2051742 w 3907982"/>
              <a:gd name="connsiteY15" fmla="*/ 1948810 h 1948810"/>
              <a:gd name="connsiteX16" fmla="*/ 1573848 w 3907982"/>
              <a:gd name="connsiteY16" fmla="*/ 1948810 h 1948810"/>
              <a:gd name="connsiteX17" fmla="*/ 965620 w 3907982"/>
              <a:gd name="connsiteY17" fmla="*/ 1948810 h 1948810"/>
              <a:gd name="connsiteX18" fmla="*/ 324808 w 3907982"/>
              <a:gd name="connsiteY18" fmla="*/ 1948810 h 1948810"/>
              <a:gd name="connsiteX19" fmla="*/ 0 w 3907982"/>
              <a:gd name="connsiteY19" fmla="*/ 1624002 h 1948810"/>
              <a:gd name="connsiteX20" fmla="*/ 0 w 3907982"/>
              <a:gd name="connsiteY20" fmla="*/ 1190937 h 1948810"/>
              <a:gd name="connsiteX21" fmla="*/ 0 w 3907982"/>
              <a:gd name="connsiteY21" fmla="*/ 744881 h 1948810"/>
              <a:gd name="connsiteX22" fmla="*/ 0 w 3907982"/>
              <a:gd name="connsiteY22" fmla="*/ 324808 h 1948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07982" h="1948810" fill="none" extrusionOk="0">
                <a:moveTo>
                  <a:pt x="0" y="324808"/>
                </a:moveTo>
                <a:cubicBezTo>
                  <a:pt x="-9814" y="144866"/>
                  <a:pt x="183880" y="33110"/>
                  <a:pt x="324808" y="0"/>
                </a:cubicBezTo>
                <a:cubicBezTo>
                  <a:pt x="511642" y="-49885"/>
                  <a:pt x="676449" y="10538"/>
                  <a:pt x="867869" y="0"/>
                </a:cubicBezTo>
                <a:cubicBezTo>
                  <a:pt x="1059289" y="-10538"/>
                  <a:pt x="1232694" y="38815"/>
                  <a:pt x="1345763" y="0"/>
                </a:cubicBezTo>
                <a:cubicBezTo>
                  <a:pt x="1458832" y="-38815"/>
                  <a:pt x="1719905" y="18510"/>
                  <a:pt x="1921407" y="0"/>
                </a:cubicBezTo>
                <a:cubicBezTo>
                  <a:pt x="2122909" y="-18510"/>
                  <a:pt x="2244503" y="13959"/>
                  <a:pt x="2399301" y="0"/>
                </a:cubicBezTo>
                <a:cubicBezTo>
                  <a:pt x="2554099" y="-13959"/>
                  <a:pt x="2739638" y="61767"/>
                  <a:pt x="2974946" y="0"/>
                </a:cubicBezTo>
                <a:cubicBezTo>
                  <a:pt x="3210254" y="-61767"/>
                  <a:pt x="3352165" y="29902"/>
                  <a:pt x="3583174" y="0"/>
                </a:cubicBezTo>
                <a:cubicBezTo>
                  <a:pt x="3767010" y="-7724"/>
                  <a:pt x="3893431" y="139843"/>
                  <a:pt x="3907982" y="324808"/>
                </a:cubicBezTo>
                <a:cubicBezTo>
                  <a:pt x="3917924" y="436572"/>
                  <a:pt x="3883703" y="595369"/>
                  <a:pt x="3907982" y="744881"/>
                </a:cubicBezTo>
                <a:cubicBezTo>
                  <a:pt x="3932261" y="894393"/>
                  <a:pt x="3894731" y="1056175"/>
                  <a:pt x="3907982" y="1151962"/>
                </a:cubicBezTo>
                <a:cubicBezTo>
                  <a:pt x="3921233" y="1247749"/>
                  <a:pt x="3884915" y="1416136"/>
                  <a:pt x="3907982" y="1624002"/>
                </a:cubicBezTo>
                <a:cubicBezTo>
                  <a:pt x="3951987" y="1791742"/>
                  <a:pt x="3755826" y="1995464"/>
                  <a:pt x="3583174" y="1948810"/>
                </a:cubicBezTo>
                <a:cubicBezTo>
                  <a:pt x="3376622" y="1978462"/>
                  <a:pt x="3333771" y="1894812"/>
                  <a:pt x="3105280" y="1948810"/>
                </a:cubicBezTo>
                <a:cubicBezTo>
                  <a:pt x="2876789" y="2002808"/>
                  <a:pt x="2821251" y="1905816"/>
                  <a:pt x="2594803" y="1948810"/>
                </a:cubicBezTo>
                <a:cubicBezTo>
                  <a:pt x="2368355" y="1991804"/>
                  <a:pt x="2240340" y="1918797"/>
                  <a:pt x="2051742" y="1948810"/>
                </a:cubicBezTo>
                <a:cubicBezTo>
                  <a:pt x="1863144" y="1978823"/>
                  <a:pt x="1807665" y="1907858"/>
                  <a:pt x="1573848" y="1948810"/>
                </a:cubicBezTo>
                <a:cubicBezTo>
                  <a:pt x="1340031" y="1989762"/>
                  <a:pt x="1221594" y="1931019"/>
                  <a:pt x="965620" y="1948810"/>
                </a:cubicBezTo>
                <a:cubicBezTo>
                  <a:pt x="709646" y="1966601"/>
                  <a:pt x="491756" y="1948759"/>
                  <a:pt x="324808" y="1948810"/>
                </a:cubicBezTo>
                <a:cubicBezTo>
                  <a:pt x="151042" y="1968543"/>
                  <a:pt x="16420" y="1810302"/>
                  <a:pt x="0" y="1624002"/>
                </a:cubicBezTo>
                <a:cubicBezTo>
                  <a:pt x="-16740" y="1503674"/>
                  <a:pt x="50220" y="1313890"/>
                  <a:pt x="0" y="1190937"/>
                </a:cubicBezTo>
                <a:cubicBezTo>
                  <a:pt x="-50220" y="1067984"/>
                  <a:pt x="52467" y="858783"/>
                  <a:pt x="0" y="744881"/>
                </a:cubicBezTo>
                <a:cubicBezTo>
                  <a:pt x="-52467" y="630979"/>
                  <a:pt x="2738" y="488934"/>
                  <a:pt x="0" y="324808"/>
                </a:cubicBezTo>
                <a:close/>
              </a:path>
              <a:path w="3907982" h="1948810" stroke="0" extrusionOk="0">
                <a:moveTo>
                  <a:pt x="0" y="324808"/>
                </a:moveTo>
                <a:cubicBezTo>
                  <a:pt x="-16458" y="135269"/>
                  <a:pt x="100042" y="17032"/>
                  <a:pt x="324808" y="0"/>
                </a:cubicBezTo>
                <a:cubicBezTo>
                  <a:pt x="584856" y="-70117"/>
                  <a:pt x="686307" y="72296"/>
                  <a:pt x="933036" y="0"/>
                </a:cubicBezTo>
                <a:cubicBezTo>
                  <a:pt x="1179765" y="-72296"/>
                  <a:pt x="1243637" y="4369"/>
                  <a:pt x="1443514" y="0"/>
                </a:cubicBezTo>
                <a:cubicBezTo>
                  <a:pt x="1643391" y="-4369"/>
                  <a:pt x="1762975" y="54884"/>
                  <a:pt x="1921407" y="0"/>
                </a:cubicBezTo>
                <a:cubicBezTo>
                  <a:pt x="2079839" y="-54884"/>
                  <a:pt x="2256426" y="16742"/>
                  <a:pt x="2497052" y="0"/>
                </a:cubicBezTo>
                <a:cubicBezTo>
                  <a:pt x="2737679" y="-16742"/>
                  <a:pt x="2804866" y="36103"/>
                  <a:pt x="3007529" y="0"/>
                </a:cubicBezTo>
                <a:cubicBezTo>
                  <a:pt x="3210192" y="-36103"/>
                  <a:pt x="3298463" y="3978"/>
                  <a:pt x="3583174" y="0"/>
                </a:cubicBezTo>
                <a:cubicBezTo>
                  <a:pt x="3756999" y="-53038"/>
                  <a:pt x="3892316" y="167193"/>
                  <a:pt x="3907982" y="324808"/>
                </a:cubicBezTo>
                <a:cubicBezTo>
                  <a:pt x="3914214" y="511100"/>
                  <a:pt x="3875098" y="647723"/>
                  <a:pt x="3907982" y="731889"/>
                </a:cubicBezTo>
                <a:cubicBezTo>
                  <a:pt x="3940866" y="816055"/>
                  <a:pt x="3881811" y="1057140"/>
                  <a:pt x="3907982" y="1164953"/>
                </a:cubicBezTo>
                <a:cubicBezTo>
                  <a:pt x="3934153" y="1272766"/>
                  <a:pt x="3895042" y="1405071"/>
                  <a:pt x="3907982" y="1624002"/>
                </a:cubicBezTo>
                <a:cubicBezTo>
                  <a:pt x="3923788" y="1787770"/>
                  <a:pt x="3773966" y="1941456"/>
                  <a:pt x="3583174" y="1948810"/>
                </a:cubicBezTo>
                <a:cubicBezTo>
                  <a:pt x="3337323" y="1967761"/>
                  <a:pt x="3255795" y="1893168"/>
                  <a:pt x="3040113" y="1948810"/>
                </a:cubicBezTo>
                <a:cubicBezTo>
                  <a:pt x="2824431" y="2004452"/>
                  <a:pt x="2690484" y="1893128"/>
                  <a:pt x="2562219" y="1948810"/>
                </a:cubicBezTo>
                <a:cubicBezTo>
                  <a:pt x="2433954" y="2004492"/>
                  <a:pt x="2238330" y="1944723"/>
                  <a:pt x="2019158" y="1948810"/>
                </a:cubicBezTo>
                <a:cubicBezTo>
                  <a:pt x="1799986" y="1952897"/>
                  <a:pt x="1605572" y="1902699"/>
                  <a:pt x="1410930" y="1948810"/>
                </a:cubicBezTo>
                <a:cubicBezTo>
                  <a:pt x="1216288" y="1994921"/>
                  <a:pt x="1011217" y="1916185"/>
                  <a:pt x="867869" y="1948810"/>
                </a:cubicBezTo>
                <a:cubicBezTo>
                  <a:pt x="724521" y="1981435"/>
                  <a:pt x="500572" y="1910232"/>
                  <a:pt x="324808" y="1948810"/>
                </a:cubicBezTo>
                <a:cubicBezTo>
                  <a:pt x="106065" y="1950430"/>
                  <a:pt x="3372" y="1797311"/>
                  <a:pt x="0" y="1624002"/>
                </a:cubicBezTo>
                <a:cubicBezTo>
                  <a:pt x="-3772" y="1437588"/>
                  <a:pt x="12891" y="1341957"/>
                  <a:pt x="0" y="1177945"/>
                </a:cubicBezTo>
                <a:cubicBezTo>
                  <a:pt x="-12891" y="1013933"/>
                  <a:pt x="47923" y="937091"/>
                  <a:pt x="0" y="770865"/>
                </a:cubicBezTo>
                <a:cubicBezTo>
                  <a:pt x="-47923" y="604639"/>
                  <a:pt x="11915" y="419747"/>
                  <a:pt x="0" y="324808"/>
                </a:cubicBezTo>
                <a:close/>
              </a:path>
            </a:pathLst>
          </a:custGeom>
          <a:gradFill flip="none" rotWithShape="1">
            <a:gsLst>
              <a:gs pos="23000">
                <a:schemeClr val="accent6">
                  <a:lumMod val="67000"/>
                  <a:alpha val="0"/>
                </a:schemeClr>
              </a:gs>
              <a:gs pos="50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  <a:alpha val="0"/>
                </a:schemeClr>
              </a:gs>
            </a:gsLst>
            <a:lin ang="16200000" scaled="1"/>
            <a:tileRect/>
          </a:gradFill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A32C0AE-654A-2838-C77B-22EEE672F3DB}"/>
              </a:ext>
            </a:extLst>
          </p:cNvPr>
          <p:cNvSpPr txBox="1"/>
          <p:nvPr/>
        </p:nvSpPr>
        <p:spPr>
          <a:xfrm>
            <a:off x="772159" y="4639328"/>
            <a:ext cx="1236877" cy="369332"/>
          </a:xfrm>
          <a:custGeom>
            <a:avLst/>
            <a:gdLst>
              <a:gd name="connsiteX0" fmla="*/ 0 w 1236877"/>
              <a:gd name="connsiteY0" fmla="*/ 0 h 369332"/>
              <a:gd name="connsiteX1" fmla="*/ 399924 w 1236877"/>
              <a:gd name="connsiteY1" fmla="*/ 0 h 369332"/>
              <a:gd name="connsiteX2" fmla="*/ 775110 w 1236877"/>
              <a:gd name="connsiteY2" fmla="*/ 0 h 369332"/>
              <a:gd name="connsiteX3" fmla="*/ 1236877 w 1236877"/>
              <a:gd name="connsiteY3" fmla="*/ 0 h 369332"/>
              <a:gd name="connsiteX4" fmla="*/ 1236877 w 1236877"/>
              <a:gd name="connsiteY4" fmla="*/ 369332 h 369332"/>
              <a:gd name="connsiteX5" fmla="*/ 849322 w 1236877"/>
              <a:gd name="connsiteY5" fmla="*/ 369332 h 369332"/>
              <a:gd name="connsiteX6" fmla="*/ 412292 w 1236877"/>
              <a:gd name="connsiteY6" fmla="*/ 369332 h 369332"/>
              <a:gd name="connsiteX7" fmla="*/ 0 w 1236877"/>
              <a:gd name="connsiteY7" fmla="*/ 369332 h 369332"/>
              <a:gd name="connsiteX8" fmla="*/ 0 w 1236877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36877" h="369332" extrusionOk="0">
                <a:moveTo>
                  <a:pt x="0" y="0"/>
                </a:moveTo>
                <a:cubicBezTo>
                  <a:pt x="175328" y="-17771"/>
                  <a:pt x="280012" y="20305"/>
                  <a:pt x="399924" y="0"/>
                </a:cubicBezTo>
                <a:cubicBezTo>
                  <a:pt x="519836" y="-20305"/>
                  <a:pt x="673338" y="9360"/>
                  <a:pt x="775110" y="0"/>
                </a:cubicBezTo>
                <a:cubicBezTo>
                  <a:pt x="876882" y="-9360"/>
                  <a:pt x="1091270" y="30966"/>
                  <a:pt x="1236877" y="0"/>
                </a:cubicBezTo>
                <a:cubicBezTo>
                  <a:pt x="1272465" y="113493"/>
                  <a:pt x="1210070" y="197069"/>
                  <a:pt x="1236877" y="369332"/>
                </a:cubicBezTo>
                <a:cubicBezTo>
                  <a:pt x="1057692" y="380605"/>
                  <a:pt x="987291" y="349777"/>
                  <a:pt x="849322" y="369332"/>
                </a:cubicBezTo>
                <a:cubicBezTo>
                  <a:pt x="711353" y="388887"/>
                  <a:pt x="537900" y="327536"/>
                  <a:pt x="412292" y="369332"/>
                </a:cubicBezTo>
                <a:cubicBezTo>
                  <a:pt x="286684" y="411128"/>
                  <a:pt x="158184" y="356080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Developer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DD727FC-C6A3-9DAF-8AF5-DF0A415096C9}"/>
              </a:ext>
            </a:extLst>
          </p:cNvPr>
          <p:cNvSpPr txBox="1"/>
          <p:nvPr/>
        </p:nvSpPr>
        <p:spPr>
          <a:xfrm>
            <a:off x="1905814" y="5120325"/>
            <a:ext cx="2422073" cy="369332"/>
          </a:xfrm>
          <a:custGeom>
            <a:avLst/>
            <a:gdLst>
              <a:gd name="connsiteX0" fmla="*/ 0 w 2422073"/>
              <a:gd name="connsiteY0" fmla="*/ 0 h 369332"/>
              <a:gd name="connsiteX1" fmla="*/ 460194 w 2422073"/>
              <a:gd name="connsiteY1" fmla="*/ 0 h 369332"/>
              <a:gd name="connsiteX2" fmla="*/ 871946 w 2422073"/>
              <a:gd name="connsiteY2" fmla="*/ 0 h 369332"/>
              <a:gd name="connsiteX3" fmla="*/ 1404802 w 2422073"/>
              <a:gd name="connsiteY3" fmla="*/ 0 h 369332"/>
              <a:gd name="connsiteX4" fmla="*/ 1864996 w 2422073"/>
              <a:gd name="connsiteY4" fmla="*/ 0 h 369332"/>
              <a:gd name="connsiteX5" fmla="*/ 2422073 w 2422073"/>
              <a:gd name="connsiteY5" fmla="*/ 0 h 369332"/>
              <a:gd name="connsiteX6" fmla="*/ 2422073 w 2422073"/>
              <a:gd name="connsiteY6" fmla="*/ 369332 h 369332"/>
              <a:gd name="connsiteX7" fmla="*/ 1937658 w 2422073"/>
              <a:gd name="connsiteY7" fmla="*/ 369332 h 369332"/>
              <a:gd name="connsiteX8" fmla="*/ 1404802 w 2422073"/>
              <a:gd name="connsiteY8" fmla="*/ 369332 h 369332"/>
              <a:gd name="connsiteX9" fmla="*/ 993050 w 2422073"/>
              <a:gd name="connsiteY9" fmla="*/ 369332 h 369332"/>
              <a:gd name="connsiteX10" fmla="*/ 508635 w 2422073"/>
              <a:gd name="connsiteY10" fmla="*/ 369332 h 369332"/>
              <a:gd name="connsiteX11" fmla="*/ 0 w 2422073"/>
              <a:gd name="connsiteY11" fmla="*/ 369332 h 369332"/>
              <a:gd name="connsiteX12" fmla="*/ 0 w 2422073"/>
              <a:gd name="connsiteY12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22073" h="369332" extrusionOk="0">
                <a:moveTo>
                  <a:pt x="0" y="0"/>
                </a:moveTo>
                <a:cubicBezTo>
                  <a:pt x="199693" y="-10251"/>
                  <a:pt x="246167" y="30869"/>
                  <a:pt x="460194" y="0"/>
                </a:cubicBezTo>
                <a:cubicBezTo>
                  <a:pt x="674221" y="-30869"/>
                  <a:pt x="708354" y="1783"/>
                  <a:pt x="871946" y="0"/>
                </a:cubicBezTo>
                <a:cubicBezTo>
                  <a:pt x="1035538" y="-1783"/>
                  <a:pt x="1215339" y="49588"/>
                  <a:pt x="1404802" y="0"/>
                </a:cubicBezTo>
                <a:cubicBezTo>
                  <a:pt x="1594265" y="-49588"/>
                  <a:pt x="1640279" y="31720"/>
                  <a:pt x="1864996" y="0"/>
                </a:cubicBezTo>
                <a:cubicBezTo>
                  <a:pt x="2089713" y="-31720"/>
                  <a:pt x="2225679" y="45722"/>
                  <a:pt x="2422073" y="0"/>
                </a:cubicBezTo>
                <a:cubicBezTo>
                  <a:pt x="2458233" y="81226"/>
                  <a:pt x="2400535" y="278722"/>
                  <a:pt x="2422073" y="369332"/>
                </a:cubicBezTo>
                <a:cubicBezTo>
                  <a:pt x="2243299" y="402811"/>
                  <a:pt x="2104963" y="338227"/>
                  <a:pt x="1937658" y="369332"/>
                </a:cubicBezTo>
                <a:cubicBezTo>
                  <a:pt x="1770354" y="400437"/>
                  <a:pt x="1620687" y="307360"/>
                  <a:pt x="1404802" y="369332"/>
                </a:cubicBezTo>
                <a:cubicBezTo>
                  <a:pt x="1188917" y="431304"/>
                  <a:pt x="1131819" y="335684"/>
                  <a:pt x="993050" y="369332"/>
                </a:cubicBezTo>
                <a:cubicBezTo>
                  <a:pt x="854281" y="402980"/>
                  <a:pt x="704761" y="348963"/>
                  <a:pt x="508635" y="369332"/>
                </a:cubicBezTo>
                <a:cubicBezTo>
                  <a:pt x="312510" y="389701"/>
                  <a:pt x="246365" y="328998"/>
                  <a:pt x="0" y="369332"/>
                </a:cubicBezTo>
                <a:cubicBezTo>
                  <a:pt x="-36656" y="211973"/>
                  <a:pt x="14639" y="175527"/>
                  <a:pt x="0" y="0"/>
                </a:cubicBezTo>
                <a:close/>
              </a:path>
            </a:pathLst>
          </a:custGeom>
          <a:noFill/>
          <a:ln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Operations/Onboarding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173F669-346B-254F-DCD9-B13DEB261A29}"/>
              </a:ext>
            </a:extLst>
          </p:cNvPr>
          <p:cNvSpPr txBox="1"/>
          <p:nvPr/>
        </p:nvSpPr>
        <p:spPr>
          <a:xfrm>
            <a:off x="729796" y="3741877"/>
            <a:ext cx="1446230" cy="369332"/>
          </a:xfrm>
          <a:custGeom>
            <a:avLst/>
            <a:gdLst>
              <a:gd name="connsiteX0" fmla="*/ 0 w 1446230"/>
              <a:gd name="connsiteY0" fmla="*/ 0 h 369332"/>
              <a:gd name="connsiteX1" fmla="*/ 467614 w 1446230"/>
              <a:gd name="connsiteY1" fmla="*/ 0 h 369332"/>
              <a:gd name="connsiteX2" fmla="*/ 906304 w 1446230"/>
              <a:gd name="connsiteY2" fmla="*/ 0 h 369332"/>
              <a:gd name="connsiteX3" fmla="*/ 1446230 w 1446230"/>
              <a:gd name="connsiteY3" fmla="*/ 0 h 369332"/>
              <a:gd name="connsiteX4" fmla="*/ 1446230 w 1446230"/>
              <a:gd name="connsiteY4" fmla="*/ 369332 h 369332"/>
              <a:gd name="connsiteX5" fmla="*/ 993078 w 1446230"/>
              <a:gd name="connsiteY5" fmla="*/ 369332 h 369332"/>
              <a:gd name="connsiteX6" fmla="*/ 482077 w 1446230"/>
              <a:gd name="connsiteY6" fmla="*/ 369332 h 369332"/>
              <a:gd name="connsiteX7" fmla="*/ 0 w 1446230"/>
              <a:gd name="connsiteY7" fmla="*/ 369332 h 369332"/>
              <a:gd name="connsiteX8" fmla="*/ 0 w 1446230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6230" h="369332" extrusionOk="0">
                <a:moveTo>
                  <a:pt x="0" y="0"/>
                </a:moveTo>
                <a:cubicBezTo>
                  <a:pt x="145599" y="-6849"/>
                  <a:pt x="249752" y="14751"/>
                  <a:pt x="467614" y="0"/>
                </a:cubicBezTo>
                <a:cubicBezTo>
                  <a:pt x="685476" y="-14751"/>
                  <a:pt x="712334" y="24561"/>
                  <a:pt x="906304" y="0"/>
                </a:cubicBezTo>
                <a:cubicBezTo>
                  <a:pt x="1100274" y="-24561"/>
                  <a:pt x="1192007" y="35315"/>
                  <a:pt x="1446230" y="0"/>
                </a:cubicBezTo>
                <a:cubicBezTo>
                  <a:pt x="1481818" y="113493"/>
                  <a:pt x="1419423" y="197069"/>
                  <a:pt x="1446230" y="369332"/>
                </a:cubicBezTo>
                <a:cubicBezTo>
                  <a:pt x="1280408" y="402765"/>
                  <a:pt x="1138547" y="325568"/>
                  <a:pt x="993078" y="369332"/>
                </a:cubicBezTo>
                <a:cubicBezTo>
                  <a:pt x="847609" y="413096"/>
                  <a:pt x="679537" y="336833"/>
                  <a:pt x="482077" y="369332"/>
                </a:cubicBezTo>
                <a:cubicBezTo>
                  <a:pt x="284617" y="401831"/>
                  <a:pt x="131201" y="316100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DevOps tea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CDF6FAF-26C9-D610-090B-D3C16FB0D072}"/>
              </a:ext>
            </a:extLst>
          </p:cNvPr>
          <p:cNvSpPr txBox="1"/>
          <p:nvPr/>
        </p:nvSpPr>
        <p:spPr>
          <a:xfrm>
            <a:off x="2527007" y="4038208"/>
            <a:ext cx="1548565" cy="369332"/>
          </a:xfrm>
          <a:custGeom>
            <a:avLst/>
            <a:gdLst>
              <a:gd name="connsiteX0" fmla="*/ 0 w 1548565"/>
              <a:gd name="connsiteY0" fmla="*/ 0 h 369332"/>
              <a:gd name="connsiteX1" fmla="*/ 500703 w 1548565"/>
              <a:gd name="connsiteY1" fmla="*/ 0 h 369332"/>
              <a:gd name="connsiteX2" fmla="*/ 970434 w 1548565"/>
              <a:gd name="connsiteY2" fmla="*/ 0 h 369332"/>
              <a:gd name="connsiteX3" fmla="*/ 1548565 w 1548565"/>
              <a:gd name="connsiteY3" fmla="*/ 0 h 369332"/>
              <a:gd name="connsiteX4" fmla="*/ 1548565 w 1548565"/>
              <a:gd name="connsiteY4" fmla="*/ 369332 h 369332"/>
              <a:gd name="connsiteX5" fmla="*/ 1063348 w 1548565"/>
              <a:gd name="connsiteY5" fmla="*/ 369332 h 369332"/>
              <a:gd name="connsiteX6" fmla="*/ 516188 w 1548565"/>
              <a:gd name="connsiteY6" fmla="*/ 369332 h 369332"/>
              <a:gd name="connsiteX7" fmla="*/ 0 w 1548565"/>
              <a:gd name="connsiteY7" fmla="*/ 369332 h 369332"/>
              <a:gd name="connsiteX8" fmla="*/ 0 w 1548565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48565" h="369332" extrusionOk="0">
                <a:moveTo>
                  <a:pt x="0" y="0"/>
                </a:moveTo>
                <a:cubicBezTo>
                  <a:pt x="188744" y="-47250"/>
                  <a:pt x="363565" y="29188"/>
                  <a:pt x="500703" y="0"/>
                </a:cubicBezTo>
                <a:cubicBezTo>
                  <a:pt x="637841" y="-29188"/>
                  <a:pt x="876338" y="27244"/>
                  <a:pt x="970434" y="0"/>
                </a:cubicBezTo>
                <a:cubicBezTo>
                  <a:pt x="1064530" y="-27244"/>
                  <a:pt x="1364252" y="59563"/>
                  <a:pt x="1548565" y="0"/>
                </a:cubicBezTo>
                <a:cubicBezTo>
                  <a:pt x="1584153" y="113493"/>
                  <a:pt x="1521758" y="197069"/>
                  <a:pt x="1548565" y="369332"/>
                </a:cubicBezTo>
                <a:cubicBezTo>
                  <a:pt x="1380486" y="378330"/>
                  <a:pt x="1230603" y="356389"/>
                  <a:pt x="1063348" y="369332"/>
                </a:cubicBezTo>
                <a:cubicBezTo>
                  <a:pt x="896093" y="382275"/>
                  <a:pt x="690595" y="357083"/>
                  <a:pt x="516188" y="369332"/>
                </a:cubicBezTo>
                <a:cubicBezTo>
                  <a:pt x="341781" y="381581"/>
                  <a:pt x="145639" y="33595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Platform Team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BBD15E5-87F3-CA6B-E40E-FB65A8529144}"/>
              </a:ext>
            </a:extLst>
          </p:cNvPr>
          <p:cNvSpPr txBox="1"/>
          <p:nvPr/>
        </p:nvSpPr>
        <p:spPr>
          <a:xfrm>
            <a:off x="739202" y="5776999"/>
            <a:ext cx="1302793" cy="369332"/>
          </a:xfrm>
          <a:custGeom>
            <a:avLst/>
            <a:gdLst>
              <a:gd name="connsiteX0" fmla="*/ 0 w 1302793"/>
              <a:gd name="connsiteY0" fmla="*/ 0 h 369332"/>
              <a:gd name="connsiteX1" fmla="*/ 421236 w 1302793"/>
              <a:gd name="connsiteY1" fmla="*/ 0 h 369332"/>
              <a:gd name="connsiteX2" fmla="*/ 816417 w 1302793"/>
              <a:gd name="connsiteY2" fmla="*/ 0 h 369332"/>
              <a:gd name="connsiteX3" fmla="*/ 1302793 w 1302793"/>
              <a:gd name="connsiteY3" fmla="*/ 0 h 369332"/>
              <a:gd name="connsiteX4" fmla="*/ 1302793 w 1302793"/>
              <a:gd name="connsiteY4" fmla="*/ 369332 h 369332"/>
              <a:gd name="connsiteX5" fmla="*/ 894585 w 1302793"/>
              <a:gd name="connsiteY5" fmla="*/ 369332 h 369332"/>
              <a:gd name="connsiteX6" fmla="*/ 434264 w 1302793"/>
              <a:gd name="connsiteY6" fmla="*/ 369332 h 369332"/>
              <a:gd name="connsiteX7" fmla="*/ 0 w 1302793"/>
              <a:gd name="connsiteY7" fmla="*/ 369332 h 369332"/>
              <a:gd name="connsiteX8" fmla="*/ 0 w 1302793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02793" h="369332" extrusionOk="0">
                <a:moveTo>
                  <a:pt x="0" y="0"/>
                </a:moveTo>
                <a:cubicBezTo>
                  <a:pt x="164111" y="-23011"/>
                  <a:pt x="239359" y="45240"/>
                  <a:pt x="421236" y="0"/>
                </a:cubicBezTo>
                <a:cubicBezTo>
                  <a:pt x="603113" y="-45240"/>
                  <a:pt x="726380" y="14626"/>
                  <a:pt x="816417" y="0"/>
                </a:cubicBezTo>
                <a:cubicBezTo>
                  <a:pt x="906454" y="-14626"/>
                  <a:pt x="1139243" y="36486"/>
                  <a:pt x="1302793" y="0"/>
                </a:cubicBezTo>
                <a:cubicBezTo>
                  <a:pt x="1338381" y="113493"/>
                  <a:pt x="1275986" y="197069"/>
                  <a:pt x="1302793" y="369332"/>
                </a:cubicBezTo>
                <a:cubicBezTo>
                  <a:pt x="1137968" y="373705"/>
                  <a:pt x="1031075" y="357141"/>
                  <a:pt x="894585" y="369332"/>
                </a:cubicBezTo>
                <a:cubicBezTo>
                  <a:pt x="758095" y="381523"/>
                  <a:pt x="573642" y="316033"/>
                  <a:pt x="434264" y="369332"/>
                </a:cubicBezTo>
                <a:cubicBezTo>
                  <a:pt x="294886" y="422631"/>
                  <a:pt x="199038" y="321322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Other Users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1FB57E80-A018-A0B1-4D5E-838F9781EBBB}"/>
              </a:ext>
            </a:extLst>
          </p:cNvPr>
          <p:cNvSpPr/>
          <p:nvPr/>
        </p:nvSpPr>
        <p:spPr>
          <a:xfrm>
            <a:off x="3358674" y="2850269"/>
            <a:ext cx="1109406" cy="234205"/>
          </a:xfrm>
          <a:custGeom>
            <a:avLst/>
            <a:gdLst>
              <a:gd name="connsiteX0" fmla="*/ 0 w 1109406"/>
              <a:gd name="connsiteY0" fmla="*/ 58551 h 234205"/>
              <a:gd name="connsiteX1" fmla="*/ 486229 w 1109406"/>
              <a:gd name="connsiteY1" fmla="*/ 58551 h 234205"/>
              <a:gd name="connsiteX2" fmla="*/ 992304 w 1109406"/>
              <a:gd name="connsiteY2" fmla="*/ 58551 h 234205"/>
              <a:gd name="connsiteX3" fmla="*/ 992304 w 1109406"/>
              <a:gd name="connsiteY3" fmla="*/ 0 h 234205"/>
              <a:gd name="connsiteX4" fmla="*/ 1109406 w 1109406"/>
              <a:gd name="connsiteY4" fmla="*/ 117103 h 234205"/>
              <a:gd name="connsiteX5" fmla="*/ 992304 w 1109406"/>
              <a:gd name="connsiteY5" fmla="*/ 234205 h 234205"/>
              <a:gd name="connsiteX6" fmla="*/ 992304 w 1109406"/>
              <a:gd name="connsiteY6" fmla="*/ 175654 h 234205"/>
              <a:gd name="connsiteX7" fmla="*/ 515998 w 1109406"/>
              <a:gd name="connsiteY7" fmla="*/ 175654 h 234205"/>
              <a:gd name="connsiteX8" fmla="*/ 0 w 1109406"/>
              <a:gd name="connsiteY8" fmla="*/ 175654 h 234205"/>
              <a:gd name="connsiteX9" fmla="*/ 0 w 1109406"/>
              <a:gd name="connsiteY9" fmla="*/ 58551 h 234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9406" h="234205" extrusionOk="0">
                <a:moveTo>
                  <a:pt x="0" y="58551"/>
                </a:moveTo>
                <a:cubicBezTo>
                  <a:pt x="222347" y="37923"/>
                  <a:pt x="310675" y="38927"/>
                  <a:pt x="486229" y="58551"/>
                </a:cubicBezTo>
                <a:cubicBezTo>
                  <a:pt x="661783" y="78175"/>
                  <a:pt x="859783" y="63824"/>
                  <a:pt x="992304" y="58551"/>
                </a:cubicBezTo>
                <a:cubicBezTo>
                  <a:pt x="993020" y="41256"/>
                  <a:pt x="990147" y="15159"/>
                  <a:pt x="992304" y="0"/>
                </a:cubicBezTo>
                <a:cubicBezTo>
                  <a:pt x="1018788" y="24798"/>
                  <a:pt x="1050788" y="67063"/>
                  <a:pt x="1109406" y="117103"/>
                </a:cubicBezTo>
                <a:cubicBezTo>
                  <a:pt x="1072629" y="161142"/>
                  <a:pt x="1026658" y="189317"/>
                  <a:pt x="992304" y="234205"/>
                </a:cubicBezTo>
                <a:cubicBezTo>
                  <a:pt x="994041" y="222130"/>
                  <a:pt x="993488" y="188290"/>
                  <a:pt x="992304" y="175654"/>
                </a:cubicBezTo>
                <a:cubicBezTo>
                  <a:pt x="803633" y="186756"/>
                  <a:pt x="645309" y="195690"/>
                  <a:pt x="515998" y="175654"/>
                </a:cubicBezTo>
                <a:cubicBezTo>
                  <a:pt x="386687" y="155618"/>
                  <a:pt x="107316" y="177347"/>
                  <a:pt x="0" y="175654"/>
                </a:cubicBezTo>
                <a:cubicBezTo>
                  <a:pt x="-3119" y="127483"/>
                  <a:pt x="4360" y="112378"/>
                  <a:pt x="0" y="58551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B27627FF-FCD2-EA77-5398-CDC6E59D9C0A}"/>
              </a:ext>
            </a:extLst>
          </p:cNvPr>
          <p:cNvSpPr/>
          <p:nvPr/>
        </p:nvSpPr>
        <p:spPr>
          <a:xfrm>
            <a:off x="9600595" y="2866012"/>
            <a:ext cx="882285" cy="267739"/>
          </a:xfrm>
          <a:custGeom>
            <a:avLst/>
            <a:gdLst>
              <a:gd name="connsiteX0" fmla="*/ 0 w 882285"/>
              <a:gd name="connsiteY0" fmla="*/ 66935 h 267739"/>
              <a:gd name="connsiteX1" fmla="*/ 366724 w 882285"/>
              <a:gd name="connsiteY1" fmla="*/ 66935 h 267739"/>
              <a:gd name="connsiteX2" fmla="*/ 748416 w 882285"/>
              <a:gd name="connsiteY2" fmla="*/ 66935 h 267739"/>
              <a:gd name="connsiteX3" fmla="*/ 748416 w 882285"/>
              <a:gd name="connsiteY3" fmla="*/ 0 h 267739"/>
              <a:gd name="connsiteX4" fmla="*/ 882285 w 882285"/>
              <a:gd name="connsiteY4" fmla="*/ 133870 h 267739"/>
              <a:gd name="connsiteX5" fmla="*/ 748416 w 882285"/>
              <a:gd name="connsiteY5" fmla="*/ 267739 h 267739"/>
              <a:gd name="connsiteX6" fmla="*/ 748416 w 882285"/>
              <a:gd name="connsiteY6" fmla="*/ 200804 h 267739"/>
              <a:gd name="connsiteX7" fmla="*/ 389176 w 882285"/>
              <a:gd name="connsiteY7" fmla="*/ 200804 h 267739"/>
              <a:gd name="connsiteX8" fmla="*/ 0 w 882285"/>
              <a:gd name="connsiteY8" fmla="*/ 200804 h 267739"/>
              <a:gd name="connsiteX9" fmla="*/ 0 w 882285"/>
              <a:gd name="connsiteY9" fmla="*/ 66935 h 267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82285" h="267739" extrusionOk="0">
                <a:moveTo>
                  <a:pt x="0" y="66935"/>
                </a:moveTo>
                <a:cubicBezTo>
                  <a:pt x="105584" y="66583"/>
                  <a:pt x="271670" y="68505"/>
                  <a:pt x="366724" y="66935"/>
                </a:cubicBezTo>
                <a:cubicBezTo>
                  <a:pt x="461778" y="65365"/>
                  <a:pt x="562217" y="62688"/>
                  <a:pt x="748416" y="66935"/>
                </a:cubicBezTo>
                <a:cubicBezTo>
                  <a:pt x="748903" y="50486"/>
                  <a:pt x="745949" y="28541"/>
                  <a:pt x="748416" y="0"/>
                </a:cubicBezTo>
                <a:cubicBezTo>
                  <a:pt x="799410" y="58417"/>
                  <a:pt x="827958" y="70310"/>
                  <a:pt x="882285" y="133870"/>
                </a:cubicBezTo>
                <a:cubicBezTo>
                  <a:pt x="841114" y="175366"/>
                  <a:pt x="806982" y="207873"/>
                  <a:pt x="748416" y="267739"/>
                </a:cubicBezTo>
                <a:cubicBezTo>
                  <a:pt x="747199" y="241938"/>
                  <a:pt x="750124" y="227606"/>
                  <a:pt x="748416" y="200804"/>
                </a:cubicBezTo>
                <a:cubicBezTo>
                  <a:pt x="590299" y="183490"/>
                  <a:pt x="467139" y="184131"/>
                  <a:pt x="389176" y="200804"/>
                </a:cubicBezTo>
                <a:cubicBezTo>
                  <a:pt x="311213" y="217477"/>
                  <a:pt x="192231" y="202141"/>
                  <a:pt x="0" y="200804"/>
                </a:cubicBezTo>
                <a:cubicBezTo>
                  <a:pt x="-6026" y="162536"/>
                  <a:pt x="5236" y="102763"/>
                  <a:pt x="0" y="66935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FB53F8E3-322F-0C5B-73FC-001E319C1888}"/>
              </a:ext>
            </a:extLst>
          </p:cNvPr>
          <p:cNvSpPr/>
          <p:nvPr/>
        </p:nvSpPr>
        <p:spPr>
          <a:xfrm>
            <a:off x="7712505" y="2896409"/>
            <a:ext cx="348132" cy="216575"/>
          </a:xfrm>
          <a:custGeom>
            <a:avLst/>
            <a:gdLst>
              <a:gd name="connsiteX0" fmla="*/ 0 w 348132"/>
              <a:gd name="connsiteY0" fmla="*/ 54144 h 216575"/>
              <a:gd name="connsiteX1" fmla="*/ 239845 w 348132"/>
              <a:gd name="connsiteY1" fmla="*/ 54144 h 216575"/>
              <a:gd name="connsiteX2" fmla="*/ 239845 w 348132"/>
              <a:gd name="connsiteY2" fmla="*/ 0 h 216575"/>
              <a:gd name="connsiteX3" fmla="*/ 348132 w 348132"/>
              <a:gd name="connsiteY3" fmla="*/ 108288 h 216575"/>
              <a:gd name="connsiteX4" fmla="*/ 239845 w 348132"/>
              <a:gd name="connsiteY4" fmla="*/ 216575 h 216575"/>
              <a:gd name="connsiteX5" fmla="*/ 239845 w 348132"/>
              <a:gd name="connsiteY5" fmla="*/ 162431 h 216575"/>
              <a:gd name="connsiteX6" fmla="*/ 0 w 348132"/>
              <a:gd name="connsiteY6" fmla="*/ 162431 h 216575"/>
              <a:gd name="connsiteX7" fmla="*/ 0 w 348132"/>
              <a:gd name="connsiteY7" fmla="*/ 54144 h 216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8132" h="216575" extrusionOk="0">
                <a:moveTo>
                  <a:pt x="0" y="54144"/>
                </a:moveTo>
                <a:cubicBezTo>
                  <a:pt x="105584" y="51053"/>
                  <a:pt x="137275" y="55119"/>
                  <a:pt x="239845" y="54144"/>
                </a:cubicBezTo>
                <a:cubicBezTo>
                  <a:pt x="242104" y="34405"/>
                  <a:pt x="242099" y="13583"/>
                  <a:pt x="239845" y="0"/>
                </a:cubicBezTo>
                <a:cubicBezTo>
                  <a:pt x="287711" y="52099"/>
                  <a:pt x="314388" y="77475"/>
                  <a:pt x="348132" y="108288"/>
                </a:cubicBezTo>
                <a:cubicBezTo>
                  <a:pt x="308244" y="146567"/>
                  <a:pt x="274671" y="184508"/>
                  <a:pt x="239845" y="216575"/>
                </a:cubicBezTo>
                <a:cubicBezTo>
                  <a:pt x="237942" y="198448"/>
                  <a:pt x="239280" y="179664"/>
                  <a:pt x="239845" y="162431"/>
                </a:cubicBezTo>
                <a:cubicBezTo>
                  <a:pt x="152833" y="154719"/>
                  <a:pt x="105099" y="164165"/>
                  <a:pt x="0" y="162431"/>
                </a:cubicBezTo>
                <a:cubicBezTo>
                  <a:pt x="-2135" y="139021"/>
                  <a:pt x="4951" y="105636"/>
                  <a:pt x="0" y="54144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7CD934-19F0-6A91-9692-A2D7011B2F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7905" y="2601504"/>
            <a:ext cx="882469" cy="908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>
            <a:extLst>
              <a:ext uri="{FF2B5EF4-FFF2-40B4-BE49-F238E27FC236}">
                <a16:creationId xmlns:a16="http://schemas.microsoft.com/office/drawing/2014/main" id="{D31AA386-E52B-7087-393C-16DFFA33AE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1776" y="2594702"/>
            <a:ext cx="882469" cy="908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D0940E11-7969-9E29-7FC5-7CFCAFDE6B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4780" y="2594702"/>
            <a:ext cx="882469" cy="908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Arrow: Right 17">
            <a:extLst>
              <a:ext uri="{FF2B5EF4-FFF2-40B4-BE49-F238E27FC236}">
                <a16:creationId xmlns:a16="http://schemas.microsoft.com/office/drawing/2014/main" id="{B2BA1AD0-69A3-3359-D688-02ADEB61FE4B}"/>
              </a:ext>
            </a:extLst>
          </p:cNvPr>
          <p:cNvSpPr/>
          <p:nvPr/>
        </p:nvSpPr>
        <p:spPr>
          <a:xfrm rot="18628755">
            <a:off x="5923767" y="2309036"/>
            <a:ext cx="579282" cy="260454"/>
          </a:xfrm>
          <a:custGeom>
            <a:avLst/>
            <a:gdLst>
              <a:gd name="connsiteX0" fmla="*/ 0 w 579282"/>
              <a:gd name="connsiteY0" fmla="*/ 65114 h 260454"/>
              <a:gd name="connsiteX1" fmla="*/ 449055 w 579282"/>
              <a:gd name="connsiteY1" fmla="*/ 65114 h 260454"/>
              <a:gd name="connsiteX2" fmla="*/ 449055 w 579282"/>
              <a:gd name="connsiteY2" fmla="*/ 0 h 260454"/>
              <a:gd name="connsiteX3" fmla="*/ 579282 w 579282"/>
              <a:gd name="connsiteY3" fmla="*/ 130227 h 260454"/>
              <a:gd name="connsiteX4" fmla="*/ 449055 w 579282"/>
              <a:gd name="connsiteY4" fmla="*/ 260454 h 260454"/>
              <a:gd name="connsiteX5" fmla="*/ 449055 w 579282"/>
              <a:gd name="connsiteY5" fmla="*/ 195341 h 260454"/>
              <a:gd name="connsiteX6" fmla="*/ 0 w 579282"/>
              <a:gd name="connsiteY6" fmla="*/ 195341 h 260454"/>
              <a:gd name="connsiteX7" fmla="*/ 0 w 579282"/>
              <a:gd name="connsiteY7" fmla="*/ 65114 h 26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79282" h="260454" extrusionOk="0">
                <a:moveTo>
                  <a:pt x="0" y="65114"/>
                </a:moveTo>
                <a:cubicBezTo>
                  <a:pt x="219689" y="83922"/>
                  <a:pt x="343930" y="68334"/>
                  <a:pt x="449055" y="65114"/>
                </a:cubicBezTo>
                <a:cubicBezTo>
                  <a:pt x="446983" y="50603"/>
                  <a:pt x="448264" y="19193"/>
                  <a:pt x="449055" y="0"/>
                </a:cubicBezTo>
                <a:cubicBezTo>
                  <a:pt x="499266" y="56448"/>
                  <a:pt x="532927" y="83474"/>
                  <a:pt x="579282" y="130227"/>
                </a:cubicBezTo>
                <a:cubicBezTo>
                  <a:pt x="543622" y="170670"/>
                  <a:pt x="478526" y="232534"/>
                  <a:pt x="449055" y="260454"/>
                </a:cubicBezTo>
                <a:cubicBezTo>
                  <a:pt x="451786" y="247325"/>
                  <a:pt x="445967" y="218843"/>
                  <a:pt x="449055" y="195341"/>
                </a:cubicBezTo>
                <a:cubicBezTo>
                  <a:pt x="252022" y="178871"/>
                  <a:pt x="164957" y="178540"/>
                  <a:pt x="0" y="195341"/>
                </a:cubicBezTo>
                <a:cubicBezTo>
                  <a:pt x="3888" y="163988"/>
                  <a:pt x="-1958" y="125989"/>
                  <a:pt x="0" y="65114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BBEF615D-2534-445B-8F63-7458A6D909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1170" y="1595512"/>
            <a:ext cx="806756" cy="806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Arrow: Right 30">
            <a:extLst>
              <a:ext uri="{FF2B5EF4-FFF2-40B4-BE49-F238E27FC236}">
                <a16:creationId xmlns:a16="http://schemas.microsoft.com/office/drawing/2014/main" id="{5C6BF4CF-966C-8372-1F93-B78C30952665}"/>
              </a:ext>
            </a:extLst>
          </p:cNvPr>
          <p:cNvSpPr/>
          <p:nvPr/>
        </p:nvSpPr>
        <p:spPr>
          <a:xfrm rot="3091230">
            <a:off x="6745868" y="2315268"/>
            <a:ext cx="579282" cy="260454"/>
          </a:xfrm>
          <a:custGeom>
            <a:avLst/>
            <a:gdLst>
              <a:gd name="connsiteX0" fmla="*/ 0 w 579282"/>
              <a:gd name="connsiteY0" fmla="*/ 65114 h 260454"/>
              <a:gd name="connsiteX1" fmla="*/ 449055 w 579282"/>
              <a:gd name="connsiteY1" fmla="*/ 65114 h 260454"/>
              <a:gd name="connsiteX2" fmla="*/ 449055 w 579282"/>
              <a:gd name="connsiteY2" fmla="*/ 0 h 260454"/>
              <a:gd name="connsiteX3" fmla="*/ 579282 w 579282"/>
              <a:gd name="connsiteY3" fmla="*/ 130227 h 260454"/>
              <a:gd name="connsiteX4" fmla="*/ 449055 w 579282"/>
              <a:gd name="connsiteY4" fmla="*/ 260454 h 260454"/>
              <a:gd name="connsiteX5" fmla="*/ 449055 w 579282"/>
              <a:gd name="connsiteY5" fmla="*/ 195341 h 260454"/>
              <a:gd name="connsiteX6" fmla="*/ 0 w 579282"/>
              <a:gd name="connsiteY6" fmla="*/ 195341 h 260454"/>
              <a:gd name="connsiteX7" fmla="*/ 0 w 579282"/>
              <a:gd name="connsiteY7" fmla="*/ 65114 h 26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79282" h="260454" extrusionOk="0">
                <a:moveTo>
                  <a:pt x="0" y="65114"/>
                </a:moveTo>
                <a:cubicBezTo>
                  <a:pt x="219689" y="83922"/>
                  <a:pt x="343930" y="68334"/>
                  <a:pt x="449055" y="65114"/>
                </a:cubicBezTo>
                <a:cubicBezTo>
                  <a:pt x="446983" y="50603"/>
                  <a:pt x="448264" y="19193"/>
                  <a:pt x="449055" y="0"/>
                </a:cubicBezTo>
                <a:cubicBezTo>
                  <a:pt x="499266" y="56448"/>
                  <a:pt x="532927" y="83474"/>
                  <a:pt x="579282" y="130227"/>
                </a:cubicBezTo>
                <a:cubicBezTo>
                  <a:pt x="543622" y="170670"/>
                  <a:pt x="478526" y="232534"/>
                  <a:pt x="449055" y="260454"/>
                </a:cubicBezTo>
                <a:cubicBezTo>
                  <a:pt x="451786" y="247325"/>
                  <a:pt x="445967" y="218843"/>
                  <a:pt x="449055" y="195341"/>
                </a:cubicBezTo>
                <a:cubicBezTo>
                  <a:pt x="252022" y="178871"/>
                  <a:pt x="164957" y="178540"/>
                  <a:pt x="0" y="195341"/>
                </a:cubicBezTo>
                <a:cubicBezTo>
                  <a:pt x="3888" y="163988"/>
                  <a:pt x="-1958" y="125989"/>
                  <a:pt x="0" y="65114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0411676-1729-5586-D497-F3C3BB0908BF}"/>
              </a:ext>
            </a:extLst>
          </p:cNvPr>
          <p:cNvSpPr txBox="1"/>
          <p:nvPr/>
        </p:nvSpPr>
        <p:spPr>
          <a:xfrm>
            <a:off x="6987172" y="1814224"/>
            <a:ext cx="1359859" cy="369332"/>
          </a:xfrm>
          <a:custGeom>
            <a:avLst/>
            <a:gdLst>
              <a:gd name="connsiteX0" fmla="*/ 0 w 1359859"/>
              <a:gd name="connsiteY0" fmla="*/ 0 h 369332"/>
              <a:gd name="connsiteX1" fmla="*/ 439688 w 1359859"/>
              <a:gd name="connsiteY1" fmla="*/ 0 h 369332"/>
              <a:gd name="connsiteX2" fmla="*/ 852178 w 1359859"/>
              <a:gd name="connsiteY2" fmla="*/ 0 h 369332"/>
              <a:gd name="connsiteX3" fmla="*/ 1359859 w 1359859"/>
              <a:gd name="connsiteY3" fmla="*/ 0 h 369332"/>
              <a:gd name="connsiteX4" fmla="*/ 1359859 w 1359859"/>
              <a:gd name="connsiteY4" fmla="*/ 369332 h 369332"/>
              <a:gd name="connsiteX5" fmla="*/ 933770 w 1359859"/>
              <a:gd name="connsiteY5" fmla="*/ 369332 h 369332"/>
              <a:gd name="connsiteX6" fmla="*/ 453286 w 1359859"/>
              <a:gd name="connsiteY6" fmla="*/ 369332 h 369332"/>
              <a:gd name="connsiteX7" fmla="*/ 0 w 1359859"/>
              <a:gd name="connsiteY7" fmla="*/ 369332 h 369332"/>
              <a:gd name="connsiteX8" fmla="*/ 0 w 1359859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59859" h="369332" extrusionOk="0">
                <a:moveTo>
                  <a:pt x="0" y="0"/>
                </a:moveTo>
                <a:cubicBezTo>
                  <a:pt x="124486" y="-12607"/>
                  <a:pt x="325873" y="42674"/>
                  <a:pt x="439688" y="0"/>
                </a:cubicBezTo>
                <a:cubicBezTo>
                  <a:pt x="553503" y="-42674"/>
                  <a:pt x="767456" y="40000"/>
                  <a:pt x="852178" y="0"/>
                </a:cubicBezTo>
                <a:cubicBezTo>
                  <a:pt x="936900" y="-40000"/>
                  <a:pt x="1153154" y="36652"/>
                  <a:pt x="1359859" y="0"/>
                </a:cubicBezTo>
                <a:cubicBezTo>
                  <a:pt x="1395447" y="113493"/>
                  <a:pt x="1333052" y="197069"/>
                  <a:pt x="1359859" y="369332"/>
                </a:cubicBezTo>
                <a:cubicBezTo>
                  <a:pt x="1160185" y="394166"/>
                  <a:pt x="1101609" y="326679"/>
                  <a:pt x="933770" y="369332"/>
                </a:cubicBezTo>
                <a:cubicBezTo>
                  <a:pt x="765931" y="411985"/>
                  <a:pt x="665143" y="312433"/>
                  <a:pt x="453286" y="369332"/>
                </a:cubicBezTo>
                <a:cubicBezTo>
                  <a:pt x="241429" y="426231"/>
                  <a:pt x="208795" y="345823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PR workflow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BA51D45-08DA-A647-CEE8-9DB79872E098}"/>
              </a:ext>
            </a:extLst>
          </p:cNvPr>
          <p:cNvSpPr txBox="1"/>
          <p:nvPr/>
        </p:nvSpPr>
        <p:spPr>
          <a:xfrm>
            <a:off x="4701904" y="3470571"/>
            <a:ext cx="470735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dirty="0"/>
              <a:t>Change management as a code</a:t>
            </a:r>
          </a:p>
          <a:p>
            <a:pPr marL="285750" indent="-285750">
              <a:buFontTx/>
              <a:buChar char="-"/>
            </a:pPr>
            <a:r>
              <a:rPr lang="en-US" dirty="0"/>
              <a:t>Good change history</a:t>
            </a:r>
          </a:p>
          <a:p>
            <a:pPr marL="285750" indent="-285750">
              <a:buFontTx/>
              <a:buChar char="-"/>
            </a:pPr>
            <a:r>
              <a:rPr lang="en-US" dirty="0"/>
              <a:t>Does not require strict User RBAC</a:t>
            </a:r>
          </a:p>
          <a:p>
            <a:pPr marL="285750" indent="-285750">
              <a:buFontTx/>
              <a:buChar char="-"/>
            </a:pPr>
            <a:r>
              <a:rPr lang="en-US" dirty="0"/>
              <a:t>CI Pipelines can validate a lot</a:t>
            </a:r>
          </a:p>
          <a:p>
            <a:pPr marL="285750" indent="-285750">
              <a:buFontTx/>
              <a:buChar char="-"/>
            </a:pPr>
            <a:r>
              <a:rPr lang="en-US" dirty="0"/>
              <a:t>Environment consistency</a:t>
            </a:r>
          </a:p>
          <a:p>
            <a:pPr marL="285750" indent="-285750">
              <a:buFontTx/>
              <a:buChar char="-"/>
            </a:pPr>
            <a:r>
              <a:rPr lang="en-US" dirty="0"/>
              <a:t>Other benefits from DevOps practice…</a:t>
            </a:r>
          </a:p>
          <a:p>
            <a:pPr marL="285750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/>
              <a:t>Scale can be hard in siloed organizations</a:t>
            </a:r>
          </a:p>
          <a:p>
            <a:pPr marL="285750" indent="-285750">
              <a:buFontTx/>
              <a:buChar char="-"/>
            </a:pPr>
            <a:r>
              <a:rPr lang="en-US" dirty="0"/>
              <a:t>Very hard to integrate with other systems</a:t>
            </a:r>
          </a:p>
          <a:p>
            <a:pPr marL="285750" indent="-285750">
              <a:buFontTx/>
              <a:buChar char="-"/>
            </a:pPr>
            <a:r>
              <a:rPr lang="en-US" dirty="0"/>
              <a:t>Other cons as it is another abstraction layer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4107A7B-4659-3DA1-E6C3-2CD4A298AB78}"/>
              </a:ext>
            </a:extLst>
          </p:cNvPr>
          <p:cNvSpPr txBox="1"/>
          <p:nvPr/>
        </p:nvSpPr>
        <p:spPr>
          <a:xfrm>
            <a:off x="2527007" y="5721446"/>
            <a:ext cx="1540422" cy="369332"/>
          </a:xfrm>
          <a:custGeom>
            <a:avLst/>
            <a:gdLst>
              <a:gd name="connsiteX0" fmla="*/ 0 w 1540422"/>
              <a:gd name="connsiteY0" fmla="*/ 0 h 369332"/>
              <a:gd name="connsiteX1" fmla="*/ 498070 w 1540422"/>
              <a:gd name="connsiteY1" fmla="*/ 0 h 369332"/>
              <a:gd name="connsiteX2" fmla="*/ 965331 w 1540422"/>
              <a:gd name="connsiteY2" fmla="*/ 0 h 369332"/>
              <a:gd name="connsiteX3" fmla="*/ 1540422 w 1540422"/>
              <a:gd name="connsiteY3" fmla="*/ 0 h 369332"/>
              <a:gd name="connsiteX4" fmla="*/ 1540422 w 1540422"/>
              <a:gd name="connsiteY4" fmla="*/ 369332 h 369332"/>
              <a:gd name="connsiteX5" fmla="*/ 1057756 w 1540422"/>
              <a:gd name="connsiteY5" fmla="*/ 369332 h 369332"/>
              <a:gd name="connsiteX6" fmla="*/ 513474 w 1540422"/>
              <a:gd name="connsiteY6" fmla="*/ 369332 h 369332"/>
              <a:gd name="connsiteX7" fmla="*/ 0 w 1540422"/>
              <a:gd name="connsiteY7" fmla="*/ 369332 h 369332"/>
              <a:gd name="connsiteX8" fmla="*/ 0 w 1540422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40422" h="369332" extrusionOk="0">
                <a:moveTo>
                  <a:pt x="0" y="0"/>
                </a:moveTo>
                <a:cubicBezTo>
                  <a:pt x="174559" y="-40103"/>
                  <a:pt x="354787" y="7499"/>
                  <a:pt x="498070" y="0"/>
                </a:cubicBezTo>
                <a:cubicBezTo>
                  <a:pt x="641353" y="-7499"/>
                  <a:pt x="741107" y="676"/>
                  <a:pt x="965331" y="0"/>
                </a:cubicBezTo>
                <a:cubicBezTo>
                  <a:pt x="1189555" y="-676"/>
                  <a:pt x="1297199" y="37223"/>
                  <a:pt x="1540422" y="0"/>
                </a:cubicBezTo>
                <a:cubicBezTo>
                  <a:pt x="1576010" y="113493"/>
                  <a:pt x="1513615" y="197069"/>
                  <a:pt x="1540422" y="369332"/>
                </a:cubicBezTo>
                <a:cubicBezTo>
                  <a:pt x="1399880" y="405631"/>
                  <a:pt x="1181672" y="329006"/>
                  <a:pt x="1057756" y="369332"/>
                </a:cubicBezTo>
                <a:cubicBezTo>
                  <a:pt x="933840" y="409658"/>
                  <a:pt x="635098" y="365067"/>
                  <a:pt x="513474" y="369332"/>
                </a:cubicBezTo>
                <a:cubicBezTo>
                  <a:pt x="391850" y="373597"/>
                  <a:pt x="102917" y="317305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Other Systems</a:t>
            </a:r>
          </a:p>
        </p:txBody>
      </p:sp>
    </p:spTree>
    <p:extLst>
      <p:ext uri="{BB962C8B-B14F-4D97-AF65-F5344CB8AC3E}">
        <p14:creationId xmlns:p14="http://schemas.microsoft.com/office/powerpoint/2010/main" val="20041839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3puCAADTYTw7_AXZsvm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gUDTVFP9DJhd2ENdLY6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Egy2WGaKMRMxuq9KCAg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r44agDtDiKB4hWkrC5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928</TotalTime>
  <Words>1137</Words>
  <Application>Microsoft Office PowerPoint</Application>
  <PresentationFormat>Widescreen</PresentationFormat>
  <Paragraphs>288</Paragraphs>
  <Slides>27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3" baseType="lpstr">
      <vt:lpstr>Arial</vt:lpstr>
      <vt:lpstr>Calibri</vt:lpstr>
      <vt:lpstr>Calibri Light</vt:lpstr>
      <vt:lpstr>Segoe UI</vt:lpstr>
      <vt:lpstr>Office Theme</vt:lpstr>
      <vt:lpstr>think-cell Slide</vt:lpstr>
      <vt:lpstr>PowerPoint Presentation</vt:lpstr>
      <vt:lpstr>PowerPoint Presentation</vt:lpstr>
      <vt:lpstr>PowerPoint Presentation</vt:lpstr>
      <vt:lpstr>Expectations</vt:lpstr>
      <vt:lpstr>Infrastructure Management</vt:lpstr>
      <vt:lpstr>Infrastructure As Code (IaC) in practice</vt:lpstr>
      <vt:lpstr>But there are multiple IaC applications</vt:lpstr>
      <vt:lpstr>Infrastructure As Code (IaC) via Pipelines</vt:lpstr>
      <vt:lpstr>Infrastructure As Code (IaC) via GitOps</vt:lpstr>
      <vt:lpstr>Infrastructure As Code (IaC) via Catalog UI Forms</vt:lpstr>
      <vt:lpstr>Infrastructure management in complex environments</vt:lpstr>
      <vt:lpstr>Azure Template Specs</vt:lpstr>
      <vt:lpstr>What is Azure Template Spec</vt:lpstr>
      <vt:lpstr>What is Azure Template Custom UI</vt:lpstr>
      <vt:lpstr>Azure Template Specs UI structure</vt:lpstr>
      <vt:lpstr>Azure Template Specs UI elements</vt:lpstr>
      <vt:lpstr>Azure Template Specs UI calls to Azure</vt:lpstr>
      <vt:lpstr>Azure Template Specs UI calls to Entra Id</vt:lpstr>
      <vt:lpstr>Azure Template Specs UI Blades</vt:lpstr>
      <vt:lpstr>Azure Template Specs deployment options</vt:lpstr>
      <vt:lpstr>Azure Template Specs UI Composition</vt:lpstr>
      <vt:lpstr>Azure Template Specs Pros and Cons</vt:lpstr>
      <vt:lpstr>Conclusions</vt:lpstr>
      <vt:lpstr>Template Specs everywhere scenario</vt:lpstr>
      <vt:lpstr>Template Specs for non prod scenario</vt:lpstr>
      <vt:lpstr>PowerPoint Presentation</vt:lpstr>
      <vt:lpstr>Ic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ower Community; Raz Dynamics</dc:creator>
  <cp:lastModifiedBy>Georgi Ivanov</cp:lastModifiedBy>
  <cp:revision>332</cp:revision>
  <dcterms:created xsi:type="dcterms:W3CDTF">2020-10-26T06:25:39Z</dcterms:created>
  <dcterms:modified xsi:type="dcterms:W3CDTF">2024-09-27T12:05:37Z</dcterms:modified>
</cp:coreProperties>
</file>